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83" r:id="rId4"/>
    <p:sldMasterId id="2147483707" r:id="rId5"/>
    <p:sldMasterId id="2147483731" r:id="rId6"/>
    <p:sldMasterId id="2147483743" r:id="rId7"/>
  </p:sldMasterIdLst>
  <p:notesMasterIdLst>
    <p:notesMasterId r:id="rId22"/>
  </p:notesMasterIdLst>
  <p:sldIdLst>
    <p:sldId id="279" r:id="rId8"/>
    <p:sldId id="278" r:id="rId9"/>
    <p:sldId id="296" r:id="rId10"/>
    <p:sldId id="300" r:id="rId11"/>
    <p:sldId id="310" r:id="rId12"/>
    <p:sldId id="309" r:id="rId13"/>
    <p:sldId id="302" r:id="rId14"/>
    <p:sldId id="283" r:id="rId15"/>
    <p:sldId id="307" r:id="rId16"/>
    <p:sldId id="284" r:id="rId17"/>
    <p:sldId id="287" r:id="rId18"/>
    <p:sldId id="289" r:id="rId19"/>
    <p:sldId id="295" r:id="rId20"/>
    <p:sldId id="311" r:id="rId21"/>
  </p:sldIdLst>
  <p:sldSz cx="9144000" cy="6858000" type="screen4x3"/>
  <p:notesSz cx="6797675" cy="9926638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ine Lou Fehrend" initials="SLF" lastIdx="1" clrIdx="0">
    <p:extLst>
      <p:ext uri="{19B8F6BF-5375-455C-9EA6-DF929625EA0E}">
        <p15:presenceInfo xmlns:p15="http://schemas.microsoft.com/office/powerpoint/2012/main" userId="Stine Lou Fehrend" providerId="None"/>
      </p:ext>
    </p:extLst>
  </p:cmAuthor>
  <p:cmAuthor id="2" name="Dorte Carstensen" initials="DC" lastIdx="1" clrIdx="1">
    <p:extLst>
      <p:ext uri="{19B8F6BF-5375-455C-9EA6-DF929625EA0E}">
        <p15:presenceInfo xmlns:p15="http://schemas.microsoft.com/office/powerpoint/2012/main" userId="Dorte Carstens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866" autoAdjust="0"/>
    <p:restoredTop sz="75315" autoAdjust="0"/>
  </p:normalViewPr>
  <p:slideViewPr>
    <p:cSldViewPr snapToGrid="0">
      <p:cViewPr varScale="1">
        <p:scale>
          <a:sx n="87" d="100"/>
          <a:sy n="87" d="100"/>
        </p:scale>
        <p:origin x="1901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551F3E-6212-49A1-B42C-9572EF060274}" type="datetimeFigureOut">
              <a:rPr lang="da-DK" smtClean="0"/>
              <a:t>11-03-2018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930DEA-70D0-4E06-A28F-B11E7A3EF61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203335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80DF29-CDCE-40C8-9E4D-7F7DDDF9E322}" type="slidenum">
              <a:rPr lang="da-DK" smtClean="0">
                <a:solidFill>
                  <a:prstClr val="black"/>
                </a:solidFill>
              </a:rPr>
              <a:pPr/>
              <a:t>1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8893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da-DK" dirty="0"/>
              <a:t>Kommunens projektleder oprettes af KOMBIT, i opretter selv andre brugere der skal have adgang til KLIK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335099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84770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136657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ctr"/>
            <a:r>
              <a:rPr lang="da-DK" dirty="0">
                <a:effectLst/>
              </a:rPr>
              <a:t> </a:t>
            </a:r>
          </a:p>
          <a:p>
            <a:pPr fontAlgn="ctr"/>
            <a:br>
              <a:rPr lang="da-DK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65492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22041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5615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lik -&gt; vores mulighed for at følge op og gå i dialog med de kommuner, som eventuelt oplever udfordringer med at løse konkrete implementeringsopgaver. Målsætningen er – igennem rettidig omhu – at give kommunerne mulighed for at forebygge kritiske problemer inden Aula idriftsættes i landets kommuner.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95111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02370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baseline="0" dirty="0"/>
              <a:t>– alle skulle gerne have modtaget invitation til KLIK</a:t>
            </a:r>
          </a:p>
          <a:p>
            <a:endParaRPr lang="da-DK" baseline="0" dirty="0"/>
          </a:p>
          <a:p>
            <a:endParaRPr lang="da-DK" baseline="0" dirty="0"/>
          </a:p>
          <a:p>
            <a:r>
              <a:rPr lang="da-DK" dirty="0"/>
              <a:t>I modtager en mail med et link til</a:t>
            </a:r>
            <a:r>
              <a:rPr lang="da-DK" baseline="0" dirty="0"/>
              <a:t> KLIK – og JA i skal sig ja til at nulstille adgangskoden!</a:t>
            </a:r>
          </a:p>
          <a:p>
            <a:r>
              <a:rPr lang="da-DK" dirty="0"/>
              <a:t>Herefter bliver du guidet gennem oprettelse af adgangskode og kan efterfølgende logge på KLIK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39501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1200" b="1" dirty="0">
                <a:effectLst/>
              </a:rPr>
              <a:t> </a:t>
            </a:r>
            <a:endParaRPr lang="da-DK" dirty="0">
              <a:effectLst/>
            </a:endParaRP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80DF29-CDCE-40C8-9E4D-7F7DDDF9E322}" type="slidenum">
              <a:rPr lang="da-DK" smtClean="0">
                <a:solidFill>
                  <a:prstClr val="black"/>
                </a:solidFill>
              </a:rPr>
              <a:pPr/>
              <a:t>8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420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930DEA-70D0-4E06-A28F-B11E7A3EF61F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91909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80DF29-CDCE-40C8-9E4D-7F7DDDF9E322}" type="slidenum">
              <a:rPr lang="da-DK" smtClean="0">
                <a:solidFill>
                  <a:prstClr val="black"/>
                </a:solidFill>
              </a:rPr>
              <a:pPr/>
              <a:t>10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585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34210" y="3506348"/>
            <a:ext cx="6730078" cy="720080"/>
          </a:xfrm>
        </p:spPr>
        <p:txBody>
          <a:bodyPr wrap="square" anchor="b" anchorCtr="0">
            <a:normAutofit/>
          </a:bodyPr>
          <a:lstStyle>
            <a:lvl1pPr>
              <a:lnSpc>
                <a:spcPts val="45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Lik for at tilføje titel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40775" y="4437112"/>
            <a:ext cx="6696744" cy="14401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buNone/>
              <a:defRPr sz="3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Klik for at tilføje undertitel/afsend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DD6E13-BEC2-487A-9E46-2CE6FFAA0955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KombitShape"/>
          <p:cNvGrpSpPr/>
          <p:nvPr/>
        </p:nvGrpSpPr>
        <p:grpSpPr>
          <a:xfrm>
            <a:off x="2117378" y="-143168"/>
            <a:ext cx="7637386" cy="4618506"/>
            <a:chOff x="2117378" y="-143168"/>
            <a:chExt cx="7637386" cy="4618506"/>
          </a:xfrm>
          <a:solidFill>
            <a:schemeClr val="bg1"/>
          </a:solidFill>
        </p:grpSpPr>
        <p:sp>
          <p:nvSpPr>
            <p:cNvPr id="21" name="Krans 3"/>
            <p:cNvSpPr>
              <a:spLocks noChangeAspect="1"/>
            </p:cNvSpPr>
            <p:nvPr/>
          </p:nvSpPr>
          <p:spPr>
            <a:xfrm>
              <a:off x="2117378" y="-143168"/>
              <a:ext cx="4176000" cy="2088000"/>
            </a:xfrm>
            <a:custGeom>
              <a:avLst/>
              <a:gdLst/>
              <a:ahLst/>
              <a:cxnLst/>
              <a:rect l="l" t="t" r="r" b="b"/>
              <a:pathLst>
                <a:path w="4176000" h="2088000">
                  <a:moveTo>
                    <a:pt x="0" y="0"/>
                  </a:moveTo>
                  <a:lnTo>
                    <a:pt x="4176000" y="0"/>
                  </a:lnTo>
                  <a:cubicBezTo>
                    <a:pt x="4176000" y="1153171"/>
                    <a:pt x="3241171" y="2088000"/>
                    <a:pt x="2088000" y="2088000"/>
                  </a:cubicBezTo>
                  <a:cubicBezTo>
                    <a:pt x="934829" y="2088000"/>
                    <a:pt x="0" y="1153171"/>
                    <a:pt x="0" y="0"/>
                  </a:cubicBezTo>
                  <a:close/>
                  <a:moveTo>
                    <a:pt x="651122" y="0"/>
                  </a:moveTo>
                  <a:cubicBezTo>
                    <a:pt x="651122" y="793566"/>
                    <a:pt x="1294434" y="1436878"/>
                    <a:pt x="2088000" y="1436878"/>
                  </a:cubicBezTo>
                  <a:cubicBezTo>
                    <a:pt x="2881566" y="1436878"/>
                    <a:pt x="3524878" y="793566"/>
                    <a:pt x="3524878" y="0"/>
                  </a:cubicBezTo>
                </a:path>
              </a:pathLst>
            </a:cu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ktangel 21"/>
            <p:cNvSpPr/>
            <p:nvPr/>
          </p:nvSpPr>
          <p:spPr>
            <a:xfrm rot="2700000">
              <a:off x="4950278" y="2329983"/>
              <a:ext cx="3640764" cy="649946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ktangel 22"/>
            <p:cNvSpPr/>
            <p:nvPr/>
          </p:nvSpPr>
          <p:spPr>
            <a:xfrm rot="18900000">
              <a:off x="7227345" y="2723296"/>
              <a:ext cx="2527419" cy="652096"/>
            </a:xfrm>
            <a:custGeom>
              <a:avLst/>
              <a:gdLst/>
              <a:ahLst/>
              <a:cxnLst/>
              <a:rect l="l" t="t" r="r" b="b"/>
              <a:pathLst>
                <a:path w="2527419" h="652096">
                  <a:moveTo>
                    <a:pt x="0" y="0"/>
                  </a:moveTo>
                  <a:lnTo>
                    <a:pt x="2527419" y="0"/>
                  </a:lnTo>
                  <a:lnTo>
                    <a:pt x="1893395" y="652096"/>
                  </a:lnTo>
                  <a:lnTo>
                    <a:pt x="0" y="6499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46" name="Billede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8000" y="6055200"/>
            <a:ext cx="1527731" cy="48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8447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øjrestille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576000"/>
            <a:ext cx="4571182" cy="841638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97A62-7F4D-46C3-87E1-477889CCEF12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 descr="[logo:BlackWhite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038725" y="0"/>
            <a:ext cx="4105275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324000" tIns="1440000" rIns="324000" anchor="t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4318917" cy="4104031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00816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65BA5-11A5-4F4C-AF17-2AE2E5036D36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Pladsholder til billede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7544" y="1581150"/>
            <a:ext cx="3960440" cy="4079875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lIns="252000" tIns="1080000" rIns="25200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aseline="0"/>
            </a:lvl1pPr>
          </a:lstStyle>
          <a:p>
            <a:r>
              <a:rPr lang="da-DK" dirty="0"/>
              <a:t>Klik så her på knappen i midten for at indsætte et billede.</a:t>
            </a:r>
            <a:endParaRPr lang="en-US" dirty="0"/>
          </a:p>
        </p:txBody>
      </p:sp>
      <p:sp>
        <p:nvSpPr>
          <p:cNvPr id="7" name="Pladsholder til billede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680000" y="1587500"/>
            <a:ext cx="3960000" cy="410368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252000" tIns="1080000" rIns="252000" anchor="t"/>
          <a:lstStyle>
            <a:lvl1pPr>
              <a:defRPr sz="1600" baseline="0"/>
            </a:lvl1pPr>
          </a:lstStyle>
          <a:p>
            <a:r>
              <a:rPr lang="da-DK" dirty="0"/>
              <a:t>Klik først her på knappen i midten for at indsætte et billed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9747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34210" y="3506348"/>
            <a:ext cx="6730078" cy="720080"/>
          </a:xfrm>
        </p:spPr>
        <p:txBody>
          <a:bodyPr wrap="square" anchor="b" anchorCtr="0">
            <a:normAutofit/>
          </a:bodyPr>
          <a:lstStyle>
            <a:lvl1pPr>
              <a:lnSpc>
                <a:spcPts val="45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Lik for at tilføje titel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40775" y="4437112"/>
            <a:ext cx="6696744" cy="14401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buNone/>
              <a:defRPr sz="3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Klik for at tilføje undertitel/afsend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DD6E13-BEC2-487A-9E46-2CE6FFAA0955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KombitShape"/>
          <p:cNvGrpSpPr/>
          <p:nvPr/>
        </p:nvGrpSpPr>
        <p:grpSpPr>
          <a:xfrm>
            <a:off x="2117378" y="-143168"/>
            <a:ext cx="7637386" cy="4618506"/>
            <a:chOff x="2117378" y="-143168"/>
            <a:chExt cx="7637386" cy="4618506"/>
          </a:xfrm>
          <a:solidFill>
            <a:schemeClr val="bg1"/>
          </a:solidFill>
        </p:grpSpPr>
        <p:sp>
          <p:nvSpPr>
            <p:cNvPr id="21" name="Krans 3"/>
            <p:cNvSpPr>
              <a:spLocks noChangeAspect="1"/>
            </p:cNvSpPr>
            <p:nvPr/>
          </p:nvSpPr>
          <p:spPr>
            <a:xfrm>
              <a:off x="2117378" y="-143168"/>
              <a:ext cx="4176000" cy="2088000"/>
            </a:xfrm>
            <a:custGeom>
              <a:avLst/>
              <a:gdLst/>
              <a:ahLst/>
              <a:cxnLst/>
              <a:rect l="l" t="t" r="r" b="b"/>
              <a:pathLst>
                <a:path w="4176000" h="2088000">
                  <a:moveTo>
                    <a:pt x="0" y="0"/>
                  </a:moveTo>
                  <a:lnTo>
                    <a:pt x="4176000" y="0"/>
                  </a:lnTo>
                  <a:cubicBezTo>
                    <a:pt x="4176000" y="1153171"/>
                    <a:pt x="3241171" y="2088000"/>
                    <a:pt x="2088000" y="2088000"/>
                  </a:cubicBezTo>
                  <a:cubicBezTo>
                    <a:pt x="934829" y="2088000"/>
                    <a:pt x="0" y="1153171"/>
                    <a:pt x="0" y="0"/>
                  </a:cubicBezTo>
                  <a:close/>
                  <a:moveTo>
                    <a:pt x="651122" y="0"/>
                  </a:moveTo>
                  <a:cubicBezTo>
                    <a:pt x="651122" y="793566"/>
                    <a:pt x="1294434" y="1436878"/>
                    <a:pt x="2088000" y="1436878"/>
                  </a:cubicBezTo>
                  <a:cubicBezTo>
                    <a:pt x="2881566" y="1436878"/>
                    <a:pt x="3524878" y="793566"/>
                    <a:pt x="3524878" y="0"/>
                  </a:cubicBezTo>
                </a:path>
              </a:pathLst>
            </a:cu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ktangel 21"/>
            <p:cNvSpPr/>
            <p:nvPr/>
          </p:nvSpPr>
          <p:spPr>
            <a:xfrm rot="2700000">
              <a:off x="4950278" y="2329983"/>
              <a:ext cx="3640764" cy="649946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ktangel 22"/>
            <p:cNvSpPr/>
            <p:nvPr/>
          </p:nvSpPr>
          <p:spPr>
            <a:xfrm rot="18900000">
              <a:off x="7227345" y="2723296"/>
              <a:ext cx="2527419" cy="652096"/>
            </a:xfrm>
            <a:custGeom>
              <a:avLst/>
              <a:gdLst/>
              <a:ahLst/>
              <a:cxnLst/>
              <a:rect l="l" t="t" r="r" b="b"/>
              <a:pathLst>
                <a:path w="2527419" h="652096">
                  <a:moveTo>
                    <a:pt x="0" y="0"/>
                  </a:moveTo>
                  <a:lnTo>
                    <a:pt x="2527419" y="0"/>
                  </a:lnTo>
                  <a:lnTo>
                    <a:pt x="1893395" y="652096"/>
                  </a:lnTo>
                  <a:lnTo>
                    <a:pt x="0" y="6499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46" name="Billede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8000" y="6055200"/>
            <a:ext cx="1527731" cy="48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3782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8253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snitsoverskrift">
    <p:bg>
      <p:bgPr>
        <a:solidFill>
          <a:srgbClr val="D7D2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ctr">
              <a:lnSpc>
                <a:spcPts val="4500"/>
              </a:lnSpc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Klik her for at tilføje teks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B3A67A-F57C-4B34-ADD1-03E0C8523631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422BEA-4D31-4C39-B8C3-10D1386D54D5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094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/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/>
              <a:ahLst/>
              <a:cxnLst/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/>
              <a:ahLst/>
              <a:cxnLst/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3" name="Freeform 7"/>
            <p:cNvSpPr/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/>
              <a:ahLst/>
              <a:cxnLst/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/>
              <a:ahLst/>
              <a:cxnLst/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Freeform 9"/>
            <p:cNvSpPr/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/>
              <a:ahLst/>
              <a:cxnLst/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9" name="Freeform 13"/>
            <p:cNvSpPr/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/>
              <a:ahLst/>
              <a:cxnLst/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/>
              <a:ahLst/>
              <a:cxnLst/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5"/>
            <p:cNvSpPr/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/>
              <a:ahLst/>
              <a:cxnLst/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6"/>
            <p:cNvSpPr/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/>
              <a:ahLst/>
              <a:cxnLst/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7"/>
            <p:cNvSpPr/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/>
              <a:ahLst/>
              <a:cxnLst/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8"/>
            <p:cNvSpPr/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/>
              <a:ahLst/>
              <a:cxnLst/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20"/>
            <p:cNvSpPr/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/>
              <a:ahLst/>
              <a:cxnLst/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1"/>
            <p:cNvSpPr/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/>
              <a:ahLst/>
              <a:cxnLst/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3"/>
            <p:cNvSpPr/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/>
              <a:ahLst/>
              <a:cxnLst/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5"/>
            <p:cNvSpPr/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/>
              <a:ahLst/>
              <a:cxnLst/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3" name="Freeform 27"/>
            <p:cNvSpPr/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/>
              <a:ahLst/>
              <a:cxnLst/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/>
              <a:ahLst/>
              <a:cxnLst/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2"/>
            <p:cNvSpPr/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3"/>
            <p:cNvSpPr/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Freeform 34"/>
            <p:cNvSpPr/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/>
              <a:ahLst/>
              <a:cxnLst/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/>
              <a:ahLst/>
              <a:cxnLst/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/>
              <a:ahLst/>
              <a:cxnLst/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ctr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lik her for at tilføje tekst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915F8-A416-466B-97B4-3E8E02D262CD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422BEA-4D31-4C39-B8C3-10D1386D54D5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614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235F4-D8D1-40DD-8C02-7CB6E5C72073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5061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30363-84F5-4813-953F-82ED69AC572F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0185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ggrundsbillede og tekstbo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 descr="[logo:BlackWhite]&#10;[imagefolder:Background]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1"/>
            <a:ext cx="9144000" cy="6858000"/>
          </a:xfrm>
          <a:solidFill>
            <a:schemeClr val="bg1">
              <a:lumMod val="75000"/>
            </a:schemeClr>
          </a:solidFill>
        </p:spPr>
        <p:txBody>
          <a:bodyPr lIns="540000" rIns="5040000" anchor="ctr" anchorCtr="0"/>
          <a:lstStyle>
            <a:lvl1pPr algn="l">
              <a:tabLst/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tekstboks/logo.)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E0649F-FA7C-4CDA-B758-7821CB283D70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7"/>
          </p:nvPr>
        </p:nvSpPr>
        <p:spPr>
          <a:xfrm>
            <a:off x="4716016" y="468000"/>
            <a:ext cx="3914720" cy="5256000"/>
          </a:xfrm>
          <a:solidFill>
            <a:schemeClr val="bg1">
              <a:alpha val="70000"/>
            </a:schemeClr>
          </a:solidFill>
        </p:spPr>
        <p:txBody>
          <a:bodyPr lIns="324000" tIns="270000" rIns="324000" bIns="270000"/>
          <a:lstStyle>
            <a:lvl1pPr>
              <a:defRPr sz="180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2" name="Pladsholder til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258877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lsides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 descr="[logo:BlackWhite]&#10;[imagefolder:Background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2340000" tIns="1656000" rIns="2340000" anchor="t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4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  <p:sp>
        <p:nvSpPr>
          <p:cNvPr id="10" name="Pladsholder til dato 9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57D2ED-A7A4-49AD-BE39-819836AD64E5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12" name="Pladsholder til slidenumm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040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8461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no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0F6228-FF53-4EA0-9E17-08F7BB684761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 descr="[logo:BlackWhite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896915"/>
            <a:ext cx="9144000" cy="298846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540000" tIns="0" rIns="5040000" anchor="ctr" anchorCtr="0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8170068" cy="2151542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8" name="Pladsholder til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560467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øjrestille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576000"/>
            <a:ext cx="4571182" cy="841638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97A62-7F4D-46C3-87E1-477889CCEF12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 descr="[logo:BlackWhite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038725" y="0"/>
            <a:ext cx="4105275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324000" tIns="1440000" rIns="324000" anchor="t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4318917" cy="4104031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633055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65BA5-11A5-4F4C-AF17-2AE2E5036D36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Pladsholder til billede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7544" y="1581150"/>
            <a:ext cx="3960440" cy="4079875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lIns="252000" tIns="1080000" rIns="25200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aseline="0"/>
            </a:lvl1pPr>
          </a:lstStyle>
          <a:p>
            <a:r>
              <a:rPr lang="da-DK" dirty="0"/>
              <a:t>Klik så her på knappen i midten for at indsætte et billede.</a:t>
            </a:r>
            <a:endParaRPr lang="en-US" dirty="0"/>
          </a:p>
        </p:txBody>
      </p:sp>
      <p:sp>
        <p:nvSpPr>
          <p:cNvPr id="7" name="Pladsholder til billede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680000" y="1587500"/>
            <a:ext cx="3960000" cy="410368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252000" tIns="1080000" rIns="252000" anchor="t"/>
          <a:lstStyle>
            <a:lvl1pPr>
              <a:defRPr sz="1600" baseline="0"/>
            </a:lvl1pPr>
          </a:lstStyle>
          <a:p>
            <a:r>
              <a:rPr lang="da-DK" dirty="0"/>
              <a:t>Klik først her på knappen i midten for at indsætte et billed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2610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34210" y="3506348"/>
            <a:ext cx="6730078" cy="720080"/>
          </a:xfrm>
        </p:spPr>
        <p:txBody>
          <a:bodyPr wrap="square" anchor="b" anchorCtr="0">
            <a:normAutofit/>
          </a:bodyPr>
          <a:lstStyle>
            <a:lvl1pPr>
              <a:lnSpc>
                <a:spcPts val="45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Lik for at tilføje titel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40775" y="4437112"/>
            <a:ext cx="6696744" cy="14401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buNone/>
              <a:defRPr sz="3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Klik for at tilføje undertitel/afsend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DD6E13-BEC2-487A-9E46-2CE6FFAA0955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KombitShape"/>
          <p:cNvGrpSpPr/>
          <p:nvPr/>
        </p:nvGrpSpPr>
        <p:grpSpPr>
          <a:xfrm>
            <a:off x="2117378" y="-143168"/>
            <a:ext cx="7637386" cy="4618506"/>
            <a:chOff x="2117378" y="-143168"/>
            <a:chExt cx="7637386" cy="4618506"/>
          </a:xfrm>
          <a:solidFill>
            <a:schemeClr val="bg1"/>
          </a:solidFill>
        </p:grpSpPr>
        <p:sp>
          <p:nvSpPr>
            <p:cNvPr id="21" name="Krans 3"/>
            <p:cNvSpPr>
              <a:spLocks noChangeAspect="1"/>
            </p:cNvSpPr>
            <p:nvPr/>
          </p:nvSpPr>
          <p:spPr>
            <a:xfrm>
              <a:off x="2117378" y="-143168"/>
              <a:ext cx="4176000" cy="2088000"/>
            </a:xfrm>
            <a:custGeom>
              <a:avLst/>
              <a:gdLst/>
              <a:ahLst/>
              <a:cxnLst/>
              <a:rect l="l" t="t" r="r" b="b"/>
              <a:pathLst>
                <a:path w="4176000" h="2088000">
                  <a:moveTo>
                    <a:pt x="0" y="0"/>
                  </a:moveTo>
                  <a:lnTo>
                    <a:pt x="4176000" y="0"/>
                  </a:lnTo>
                  <a:cubicBezTo>
                    <a:pt x="4176000" y="1153171"/>
                    <a:pt x="3241171" y="2088000"/>
                    <a:pt x="2088000" y="2088000"/>
                  </a:cubicBezTo>
                  <a:cubicBezTo>
                    <a:pt x="934829" y="2088000"/>
                    <a:pt x="0" y="1153171"/>
                    <a:pt x="0" y="0"/>
                  </a:cubicBezTo>
                  <a:close/>
                  <a:moveTo>
                    <a:pt x="651122" y="0"/>
                  </a:moveTo>
                  <a:cubicBezTo>
                    <a:pt x="651122" y="793566"/>
                    <a:pt x="1294434" y="1436878"/>
                    <a:pt x="2088000" y="1436878"/>
                  </a:cubicBezTo>
                  <a:cubicBezTo>
                    <a:pt x="2881566" y="1436878"/>
                    <a:pt x="3524878" y="793566"/>
                    <a:pt x="3524878" y="0"/>
                  </a:cubicBezTo>
                </a:path>
              </a:pathLst>
            </a:cu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ktangel 21"/>
            <p:cNvSpPr/>
            <p:nvPr/>
          </p:nvSpPr>
          <p:spPr>
            <a:xfrm rot="2700000">
              <a:off x="4950278" y="2329983"/>
              <a:ext cx="3640764" cy="649946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ktangel 22"/>
            <p:cNvSpPr/>
            <p:nvPr/>
          </p:nvSpPr>
          <p:spPr>
            <a:xfrm rot="18900000">
              <a:off x="7227345" y="2723296"/>
              <a:ext cx="2527419" cy="652096"/>
            </a:xfrm>
            <a:custGeom>
              <a:avLst/>
              <a:gdLst/>
              <a:ahLst/>
              <a:cxnLst/>
              <a:rect l="l" t="t" r="r" b="b"/>
              <a:pathLst>
                <a:path w="2527419" h="652096">
                  <a:moveTo>
                    <a:pt x="0" y="0"/>
                  </a:moveTo>
                  <a:lnTo>
                    <a:pt x="2527419" y="0"/>
                  </a:lnTo>
                  <a:lnTo>
                    <a:pt x="1893395" y="652096"/>
                  </a:lnTo>
                  <a:lnTo>
                    <a:pt x="0" y="6499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46" name="Billede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8000" y="6055200"/>
            <a:ext cx="1527731" cy="48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9103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6368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snitsoverskrift">
    <p:bg>
      <p:bgPr>
        <a:solidFill>
          <a:srgbClr val="D7D2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ctr">
              <a:lnSpc>
                <a:spcPts val="4500"/>
              </a:lnSpc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Klik her for at tilføje teks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B3A67A-F57C-4B34-ADD1-03E0C8523631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422BEA-4D31-4C39-B8C3-10D1386D54D5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5333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/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/>
              <a:ahLst/>
              <a:cxnLst/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/>
              <a:ahLst/>
              <a:cxnLst/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3" name="Freeform 7"/>
            <p:cNvSpPr/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/>
              <a:ahLst/>
              <a:cxnLst/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/>
              <a:ahLst/>
              <a:cxnLst/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Freeform 9"/>
            <p:cNvSpPr/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/>
              <a:ahLst/>
              <a:cxnLst/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9" name="Freeform 13"/>
            <p:cNvSpPr/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/>
              <a:ahLst/>
              <a:cxnLst/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/>
              <a:ahLst/>
              <a:cxnLst/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5"/>
            <p:cNvSpPr/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/>
              <a:ahLst/>
              <a:cxnLst/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6"/>
            <p:cNvSpPr/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/>
              <a:ahLst/>
              <a:cxnLst/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7"/>
            <p:cNvSpPr/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/>
              <a:ahLst/>
              <a:cxnLst/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8"/>
            <p:cNvSpPr/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/>
              <a:ahLst/>
              <a:cxnLst/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20"/>
            <p:cNvSpPr/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/>
              <a:ahLst/>
              <a:cxnLst/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1"/>
            <p:cNvSpPr/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/>
              <a:ahLst/>
              <a:cxnLst/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3"/>
            <p:cNvSpPr/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/>
              <a:ahLst/>
              <a:cxnLst/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5"/>
            <p:cNvSpPr/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/>
              <a:ahLst/>
              <a:cxnLst/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3" name="Freeform 27"/>
            <p:cNvSpPr/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/>
              <a:ahLst/>
              <a:cxnLst/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/>
              <a:ahLst/>
              <a:cxnLst/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2"/>
            <p:cNvSpPr/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3"/>
            <p:cNvSpPr/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Freeform 34"/>
            <p:cNvSpPr/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/>
              <a:ahLst/>
              <a:cxnLst/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/>
              <a:ahLst/>
              <a:cxnLst/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/>
              <a:ahLst/>
              <a:cxnLst/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ctr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lik her for at tilføje tekst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915F8-A416-466B-97B4-3E8E02D262CD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422BEA-4D31-4C39-B8C3-10D1386D54D5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8775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235F4-D8D1-40DD-8C02-7CB6E5C72073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8665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30363-84F5-4813-953F-82ED69AC572F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2219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ggrundsbillede og tekstbo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 descr="[logo:BlackWhite]&#10;[imagefolder:Background]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1"/>
            <a:ext cx="9144000" cy="6858000"/>
          </a:xfrm>
          <a:solidFill>
            <a:schemeClr val="bg1">
              <a:lumMod val="75000"/>
            </a:schemeClr>
          </a:solidFill>
        </p:spPr>
        <p:txBody>
          <a:bodyPr lIns="540000" rIns="5040000" anchor="ctr" anchorCtr="0"/>
          <a:lstStyle>
            <a:lvl1pPr algn="l">
              <a:tabLst/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tekstboks/logo.)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E0649F-FA7C-4CDA-B758-7821CB283D70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7"/>
          </p:nvPr>
        </p:nvSpPr>
        <p:spPr>
          <a:xfrm>
            <a:off x="4716016" y="468000"/>
            <a:ext cx="3914720" cy="5256000"/>
          </a:xfrm>
          <a:solidFill>
            <a:schemeClr val="bg1">
              <a:alpha val="70000"/>
            </a:schemeClr>
          </a:solidFill>
        </p:spPr>
        <p:txBody>
          <a:bodyPr lIns="324000" tIns="270000" rIns="324000" bIns="270000"/>
          <a:lstStyle>
            <a:lvl1pPr>
              <a:defRPr sz="180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2" name="Pladsholder til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08967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snitsoverskrift">
    <p:bg>
      <p:bgPr>
        <a:solidFill>
          <a:srgbClr val="D7D2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ctr">
              <a:lnSpc>
                <a:spcPts val="4500"/>
              </a:lnSpc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Klik her for at tilføje teks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B3A67A-F57C-4B34-ADD1-03E0C8523631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422BEA-4D31-4C39-B8C3-10D1386D54D5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7717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lsides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 descr="[logo:BlackWhite]&#10;[imagefolder:Background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2340000" tIns="1656000" rIns="2340000" anchor="t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4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  <p:sp>
        <p:nvSpPr>
          <p:cNvPr id="10" name="Pladsholder til dato 9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57D2ED-A7A4-49AD-BE39-819836AD64E5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12" name="Pladsholder til slidenumm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8288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no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0F6228-FF53-4EA0-9E17-08F7BB684761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 descr="[logo:BlackWhite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896915"/>
            <a:ext cx="9144000" cy="298846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540000" tIns="0" rIns="5040000" anchor="ctr" anchorCtr="0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8170068" cy="2151542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8" name="Pladsholder til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074036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øjrestille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360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576000"/>
            <a:ext cx="4571182" cy="841638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97A62-7F4D-46C3-87E1-477889CCEF12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 descr="[logo:BlackWhite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038725" y="0"/>
            <a:ext cx="4105275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324000" tIns="1440000" rIns="324000" anchor="t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4318917" cy="4104031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6066000"/>
            <a:ext cx="1512000" cy="471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517437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65BA5-11A5-4F4C-AF17-2AE2E5036D36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Pladsholder til billede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7544" y="1581150"/>
            <a:ext cx="3960440" cy="4079875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lIns="252000" tIns="1080000" rIns="25200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aseline="0"/>
            </a:lvl1pPr>
          </a:lstStyle>
          <a:p>
            <a:r>
              <a:rPr lang="da-DK" dirty="0"/>
              <a:t>Klik så her på knappen i midten for at indsætte et billede.</a:t>
            </a:r>
            <a:endParaRPr lang="en-US" dirty="0"/>
          </a:p>
        </p:txBody>
      </p:sp>
      <p:sp>
        <p:nvSpPr>
          <p:cNvPr id="7" name="Pladsholder til billede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680000" y="1587500"/>
            <a:ext cx="3960000" cy="410368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252000" tIns="1080000" rIns="252000" anchor="t"/>
          <a:lstStyle>
            <a:lvl1pPr>
              <a:defRPr sz="1600" baseline="0"/>
            </a:lvl1pPr>
          </a:lstStyle>
          <a:p>
            <a:r>
              <a:rPr lang="da-DK" dirty="0"/>
              <a:t>Klik først her på knappen i midten for at indsætte et billed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4124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34210" y="3506348"/>
            <a:ext cx="6730078" cy="720080"/>
          </a:xfrm>
        </p:spPr>
        <p:txBody>
          <a:bodyPr wrap="square" anchor="b" anchorCtr="0">
            <a:normAutofit/>
          </a:bodyPr>
          <a:lstStyle>
            <a:lvl1pPr>
              <a:lnSpc>
                <a:spcPts val="45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Lik for at tilføje titel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40775" y="4437112"/>
            <a:ext cx="6696744" cy="14401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buNone/>
              <a:defRPr sz="3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Klik for at tilføje undertitel/afsend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DD6E13-BEC2-487A-9E46-2CE6FFAA0955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KombitShape"/>
          <p:cNvGrpSpPr/>
          <p:nvPr/>
        </p:nvGrpSpPr>
        <p:grpSpPr>
          <a:xfrm>
            <a:off x="2117378" y="-143168"/>
            <a:ext cx="7637386" cy="4618506"/>
            <a:chOff x="2117378" y="-143168"/>
            <a:chExt cx="7637386" cy="4618506"/>
          </a:xfrm>
          <a:solidFill>
            <a:schemeClr val="bg1"/>
          </a:solidFill>
        </p:grpSpPr>
        <p:sp>
          <p:nvSpPr>
            <p:cNvPr id="21" name="Krans 3"/>
            <p:cNvSpPr>
              <a:spLocks noChangeAspect="1"/>
            </p:cNvSpPr>
            <p:nvPr/>
          </p:nvSpPr>
          <p:spPr>
            <a:xfrm>
              <a:off x="2117378" y="-143168"/>
              <a:ext cx="4176000" cy="2088000"/>
            </a:xfrm>
            <a:custGeom>
              <a:avLst/>
              <a:gdLst/>
              <a:ahLst/>
              <a:cxnLst/>
              <a:rect l="l" t="t" r="r" b="b"/>
              <a:pathLst>
                <a:path w="4176000" h="2088000">
                  <a:moveTo>
                    <a:pt x="0" y="0"/>
                  </a:moveTo>
                  <a:lnTo>
                    <a:pt x="4176000" y="0"/>
                  </a:lnTo>
                  <a:cubicBezTo>
                    <a:pt x="4176000" y="1153171"/>
                    <a:pt x="3241171" y="2088000"/>
                    <a:pt x="2088000" y="2088000"/>
                  </a:cubicBezTo>
                  <a:cubicBezTo>
                    <a:pt x="934829" y="2088000"/>
                    <a:pt x="0" y="1153171"/>
                    <a:pt x="0" y="0"/>
                  </a:cubicBezTo>
                  <a:close/>
                  <a:moveTo>
                    <a:pt x="651122" y="0"/>
                  </a:moveTo>
                  <a:cubicBezTo>
                    <a:pt x="651122" y="793566"/>
                    <a:pt x="1294434" y="1436878"/>
                    <a:pt x="2088000" y="1436878"/>
                  </a:cubicBezTo>
                  <a:cubicBezTo>
                    <a:pt x="2881566" y="1436878"/>
                    <a:pt x="3524878" y="793566"/>
                    <a:pt x="3524878" y="0"/>
                  </a:cubicBezTo>
                </a:path>
              </a:pathLst>
            </a:cu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ktangel 21"/>
            <p:cNvSpPr/>
            <p:nvPr/>
          </p:nvSpPr>
          <p:spPr>
            <a:xfrm rot="2700000">
              <a:off x="4950278" y="2329983"/>
              <a:ext cx="3640764" cy="649946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ktangel 22"/>
            <p:cNvSpPr/>
            <p:nvPr/>
          </p:nvSpPr>
          <p:spPr>
            <a:xfrm rot="18900000">
              <a:off x="7227345" y="2723296"/>
              <a:ext cx="2527419" cy="652096"/>
            </a:xfrm>
            <a:custGeom>
              <a:avLst/>
              <a:gdLst/>
              <a:ahLst/>
              <a:cxnLst/>
              <a:rect l="l" t="t" r="r" b="b"/>
              <a:pathLst>
                <a:path w="2527419" h="652096">
                  <a:moveTo>
                    <a:pt x="0" y="0"/>
                  </a:moveTo>
                  <a:lnTo>
                    <a:pt x="2527419" y="0"/>
                  </a:lnTo>
                  <a:lnTo>
                    <a:pt x="1893395" y="652096"/>
                  </a:lnTo>
                  <a:lnTo>
                    <a:pt x="0" y="6499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46" name="Billede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8000" y="6055200"/>
            <a:ext cx="1527731" cy="48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359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782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snitsoverskrift">
    <p:bg>
      <p:bgPr>
        <a:solidFill>
          <a:srgbClr val="D7D2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ctr">
              <a:lnSpc>
                <a:spcPts val="4500"/>
              </a:lnSpc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Klik her for at tilføje teks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B3A67A-F57C-4B34-ADD1-03E0C8523631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422BEA-4D31-4C39-B8C3-10D1386D54D5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3112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/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/>
              <a:ahLst/>
              <a:cxnLst/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/>
              <a:ahLst/>
              <a:cxnLst/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3" name="Freeform 7"/>
            <p:cNvSpPr/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/>
              <a:ahLst/>
              <a:cxnLst/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/>
              <a:ahLst/>
              <a:cxnLst/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Freeform 9"/>
            <p:cNvSpPr/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/>
              <a:ahLst/>
              <a:cxnLst/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9" name="Freeform 13"/>
            <p:cNvSpPr/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/>
              <a:ahLst/>
              <a:cxnLst/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/>
              <a:ahLst/>
              <a:cxnLst/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5"/>
            <p:cNvSpPr/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/>
              <a:ahLst/>
              <a:cxnLst/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6"/>
            <p:cNvSpPr/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/>
              <a:ahLst/>
              <a:cxnLst/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7"/>
            <p:cNvSpPr/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/>
              <a:ahLst/>
              <a:cxnLst/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8"/>
            <p:cNvSpPr/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/>
              <a:ahLst/>
              <a:cxnLst/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20"/>
            <p:cNvSpPr/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/>
              <a:ahLst/>
              <a:cxnLst/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1"/>
            <p:cNvSpPr/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/>
              <a:ahLst/>
              <a:cxnLst/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3"/>
            <p:cNvSpPr/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/>
              <a:ahLst/>
              <a:cxnLst/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5"/>
            <p:cNvSpPr/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/>
              <a:ahLst/>
              <a:cxnLst/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3" name="Freeform 27"/>
            <p:cNvSpPr/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/>
              <a:ahLst/>
              <a:cxnLst/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/>
              <a:ahLst/>
              <a:cxnLst/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2"/>
            <p:cNvSpPr/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3"/>
            <p:cNvSpPr/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Freeform 34"/>
            <p:cNvSpPr/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/>
              <a:ahLst/>
              <a:cxnLst/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/>
              <a:ahLst/>
              <a:cxnLst/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/>
              <a:ahLst/>
              <a:cxnLst/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ctr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lik her for at tilføje tekst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915F8-A416-466B-97B4-3E8E02D262CD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422BEA-4D31-4C39-B8C3-10D1386D54D5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1099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235F4-D8D1-40DD-8C02-7CB6E5C72073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3138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30363-84F5-4813-953F-82ED69AC572F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09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/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/>
              <a:ahLst/>
              <a:cxnLst/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/>
              <a:ahLst/>
              <a:cxnLst/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3" name="Freeform 7"/>
            <p:cNvSpPr/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/>
              <a:ahLst/>
              <a:cxnLst/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/>
              <a:ahLst/>
              <a:cxnLst/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Freeform 9"/>
            <p:cNvSpPr/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/>
              <a:ahLst/>
              <a:cxnLst/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9" name="Freeform 13"/>
            <p:cNvSpPr/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/>
              <a:ahLst/>
              <a:cxnLst/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/>
              <a:ahLst/>
              <a:cxnLst/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5"/>
            <p:cNvSpPr/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/>
              <a:ahLst/>
              <a:cxnLst/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6"/>
            <p:cNvSpPr/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/>
              <a:ahLst/>
              <a:cxnLst/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7"/>
            <p:cNvSpPr/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/>
              <a:ahLst/>
              <a:cxnLst/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8"/>
            <p:cNvSpPr/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/>
              <a:ahLst/>
              <a:cxnLst/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20"/>
            <p:cNvSpPr/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/>
              <a:ahLst/>
              <a:cxnLst/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1"/>
            <p:cNvSpPr/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/>
              <a:ahLst/>
              <a:cxnLst/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3"/>
            <p:cNvSpPr/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/>
              <a:ahLst/>
              <a:cxnLst/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5"/>
            <p:cNvSpPr/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/>
              <a:ahLst/>
              <a:cxnLst/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3" name="Freeform 27"/>
            <p:cNvSpPr/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/>
              <a:ahLst/>
              <a:cxnLst/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/>
              <a:ahLst/>
              <a:cxnLst/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/>
              <a:ahLst/>
              <a:cxnLst/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2"/>
            <p:cNvSpPr/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3"/>
            <p:cNvSpPr/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/>
              <a:ahLst/>
              <a:cxnLst/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Freeform 34"/>
            <p:cNvSpPr/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/>
              <a:ahLst/>
              <a:cxnLst/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/>
              <a:ahLst/>
              <a:cxnLst/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/>
              <a:ahLst/>
              <a:cxnLst/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ctr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lik her for at tilføje tekst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915F8-A416-466B-97B4-3E8E02D262CD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422BEA-4D31-4C39-B8C3-10D1386D54D5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976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ggrundsbillede og tekstbo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 descr="[logo:BlackWhite]&#10;[imagefolder:Background]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1"/>
            <a:ext cx="9144000" cy="6858000"/>
          </a:xfrm>
          <a:solidFill>
            <a:schemeClr val="bg1">
              <a:lumMod val="75000"/>
            </a:schemeClr>
          </a:solidFill>
        </p:spPr>
        <p:txBody>
          <a:bodyPr lIns="540000" rIns="5040000" anchor="ctr" anchorCtr="0"/>
          <a:lstStyle>
            <a:lvl1pPr algn="l">
              <a:tabLst/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tekstboks/logo.)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E0649F-FA7C-4CDA-B758-7821CB283D70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7"/>
          </p:nvPr>
        </p:nvSpPr>
        <p:spPr>
          <a:xfrm>
            <a:off x="4716016" y="468000"/>
            <a:ext cx="3914720" cy="5256000"/>
          </a:xfrm>
          <a:solidFill>
            <a:schemeClr val="bg1">
              <a:alpha val="70000"/>
            </a:schemeClr>
          </a:solidFill>
        </p:spPr>
        <p:txBody>
          <a:bodyPr lIns="324000" tIns="270000" rIns="324000" bIns="270000"/>
          <a:lstStyle>
            <a:lvl1pPr>
              <a:defRPr sz="180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2" name="Pladsholder til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9499460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lsides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 descr="[logo:BlackWhite]&#10;[imagefolder:Background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2340000" tIns="1656000" rIns="2340000" anchor="t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4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  <p:sp>
        <p:nvSpPr>
          <p:cNvPr id="10" name="Pladsholder til dato 9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57D2ED-A7A4-49AD-BE39-819836AD64E5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12" name="Pladsholder til slidenumm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6340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no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0F6228-FF53-4EA0-9E17-08F7BB684761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 descr="[logo:BlackWhite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896915"/>
            <a:ext cx="9144000" cy="298846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540000" tIns="0" rIns="5040000" anchor="ctr" anchorCtr="0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8170068" cy="2151542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8" name="Pladsholder til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412849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øjrestille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576000"/>
            <a:ext cx="4571182" cy="841638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97A62-7F4D-46C3-87E1-477889CCEF12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 descr="[logo:BlackWhite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038725" y="0"/>
            <a:ext cx="4105275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324000" tIns="1440000" rIns="324000" anchor="t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4318917" cy="4104031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514241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65BA5-11A5-4F4C-AF17-2AE2E5036D36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Pladsholder til billede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7544" y="1581150"/>
            <a:ext cx="3960440" cy="4079875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lIns="252000" tIns="1080000" rIns="25200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aseline="0"/>
            </a:lvl1pPr>
          </a:lstStyle>
          <a:p>
            <a:r>
              <a:rPr lang="da-DK" dirty="0"/>
              <a:t>Klik så her på knappen i midten for at indsætte et billede.</a:t>
            </a:r>
            <a:endParaRPr lang="en-US" dirty="0"/>
          </a:p>
        </p:txBody>
      </p:sp>
      <p:sp>
        <p:nvSpPr>
          <p:cNvPr id="7" name="Pladsholder til billede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680000" y="1587500"/>
            <a:ext cx="3960000" cy="410368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252000" tIns="1080000" rIns="252000" anchor="t"/>
          <a:lstStyle>
            <a:lvl1pPr>
              <a:defRPr sz="1600" baseline="0"/>
            </a:lvl1pPr>
          </a:lstStyle>
          <a:p>
            <a:r>
              <a:rPr lang="da-DK" dirty="0"/>
              <a:t>Klik først her på knappen i midten for at indsætte et billed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507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235F4-D8D1-40DD-8C02-7CB6E5C72073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7450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30363-84F5-4813-953F-82ED69AC572F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544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ggrundsbillede og tekstbo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 descr="[logo:BlackWhite]&#10;[imagefolder:Background]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1"/>
            <a:ext cx="9144000" cy="6858000"/>
          </a:xfrm>
          <a:solidFill>
            <a:schemeClr val="bg1">
              <a:lumMod val="75000"/>
            </a:schemeClr>
          </a:solidFill>
        </p:spPr>
        <p:txBody>
          <a:bodyPr lIns="540000" rIns="5040000" anchor="ctr" anchorCtr="0"/>
          <a:lstStyle>
            <a:lvl1pPr algn="l">
              <a:tabLst/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tekstboks/logo.)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E0649F-FA7C-4CDA-B758-7821CB283D70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7"/>
          </p:nvPr>
        </p:nvSpPr>
        <p:spPr>
          <a:xfrm>
            <a:off x="4716016" y="468000"/>
            <a:ext cx="3914720" cy="5256000"/>
          </a:xfrm>
          <a:solidFill>
            <a:schemeClr val="bg1">
              <a:alpha val="70000"/>
            </a:schemeClr>
          </a:solidFill>
        </p:spPr>
        <p:txBody>
          <a:bodyPr lIns="324000" tIns="270000" rIns="324000" bIns="270000"/>
          <a:lstStyle>
            <a:lvl1pPr>
              <a:defRPr sz="180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2" name="Pladsholder til tekst 8"/>
          <p:cNvSpPr>
            <a:spLocks noGrp="1"/>
          </p:cNvSpPr>
          <p:nvPr>
            <p:ph type="body" sz="quarter" idx="16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846152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lsides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 descr="[logo:BlackWhite]&#10;[imagefolder:Background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2340000" tIns="1656000" rIns="2340000" anchor="t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4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  <p:sp>
        <p:nvSpPr>
          <p:cNvPr id="10" name="Pladsholder til dato 9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57D2ED-A7A4-49AD-BE39-819836AD64E5}" type="datetimeFigureOut">
              <a:rPr lang="en-US" dirty="0">
                <a:solidFill>
                  <a:prstClr val="white"/>
                </a:solidFill>
              </a:rPr>
              <a:pPr/>
              <a:t>3/11/20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
              </a:t>
            </a:r>
          </a:p>
        </p:txBody>
      </p:sp>
      <p:sp>
        <p:nvSpPr>
          <p:cNvPr id="12" name="Pladsholder til slidenumm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6432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no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0F6228-FF53-4EA0-9E17-08F7BB684761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 descr="[logo:BlackWhite]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896915"/>
            <a:ext cx="9144000" cy="298846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lIns="540000" tIns="0" rIns="5040000" anchor="ctr" anchorCtr="0"/>
          <a:lstStyle>
            <a:lvl1pPr>
              <a:defRPr sz="1600" baseline="0"/>
            </a:lvl1pPr>
          </a:lstStyle>
          <a:p>
            <a:r>
              <a:rPr lang="da-DK" dirty="0"/>
              <a:t>Klik på knappen i midten for at indsætte et billede. Billedet fjernes igen ved at trykke DELETE på tastaturet. (Klik Nulstil på fanen HJEM, hvis du ikke kan se logo.)</a:t>
            </a:r>
            <a:endParaRPr lang="en-US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8170068" cy="2151542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8" name="Pladsholder til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6066000"/>
            <a:ext cx="1512000" cy="471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
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429145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67543" y="576000"/>
            <a:ext cx="8172455" cy="84163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67999" y="1584001"/>
            <a:ext cx="8171999" cy="410630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Klik for at redigere i master</a:t>
            </a:r>
          </a:p>
          <a:p>
            <a:pPr lvl="1"/>
            <a:r>
              <a:rPr lang="en-US" dirty="0"/>
              <a:t>Andet niveau</a:t>
            </a:r>
          </a:p>
          <a:p>
            <a:pPr lvl="2"/>
            <a:r>
              <a:rPr lang="en-US" dirty="0"/>
              <a:t>Tredje niveau</a:t>
            </a:r>
          </a:p>
          <a:p>
            <a:pPr lvl="3"/>
            <a:r>
              <a:rPr lang="en-US" dirty="0"/>
              <a:t>Fjerde niveau</a:t>
            </a:r>
          </a:p>
          <a:p>
            <a:pPr lvl="4"/>
            <a:r>
              <a:rPr lang="en-US" dirty="0"/>
              <a:t>Femte niveau</a:t>
            </a:r>
          </a:p>
          <a:p>
            <a:pPr lvl="5"/>
            <a:r>
              <a:rPr lang="en-US" dirty="0"/>
              <a:t>Sjette niveau</a:t>
            </a:r>
          </a:p>
          <a:p>
            <a:pPr lvl="6"/>
            <a:r>
              <a:rPr lang="en-US" dirty="0"/>
              <a:t>(syvende)</a:t>
            </a:r>
          </a:p>
          <a:p>
            <a:pPr lvl="7"/>
            <a:r>
              <a:rPr lang="en-US" dirty="0"/>
              <a:t>(ottende)</a:t>
            </a:r>
          </a:p>
          <a:p>
            <a:pPr lvl="8"/>
            <a:r>
              <a:rPr lang="en-US" dirty="0"/>
              <a:t>(niende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28000" y="6215560"/>
            <a:ext cx="64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A1707CC2-C8BF-48C6-B09C-DB92AB0CBD2A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693066" y="6214350"/>
            <a:ext cx="442693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469191" y="6215923"/>
            <a:ext cx="35839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1000"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6" name="Picture 2" descr="C:\Users\kg\Desktop\KOMBIT\_Version 0.1\KOMBIT_payoff_cmyk.emf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9362" y="6065427"/>
            <a:ext cx="1510637" cy="47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801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sldNum="0" hdr="0" ftr="0" dt="0"/>
  <p:txStyles>
    <p:titleStyle>
      <a:lvl1pPr algn="l" defTabSz="914400" rtl="0" eaLnBrk="1" latinLnBrk="0" hangingPunct="1">
        <a:lnSpc>
          <a:spcPts val="2700"/>
        </a:lnSpc>
        <a:spcBef>
          <a:spcPct val="0"/>
        </a:spcBef>
        <a:buNone/>
        <a:defRPr sz="3000" b="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1" kern="1200">
          <a:solidFill>
            <a:schemeClr val="accent1"/>
          </a:solidFill>
          <a:latin typeface="Trebuchet MS" panose="020B0603020202020204" pitchFamily="34" charset="0"/>
          <a:ea typeface="+mn-ea"/>
          <a:cs typeface="+mn-cs"/>
        </a:defRPr>
      </a:lvl2pPr>
      <a:lvl3pPr marL="180000" indent="-180000" algn="l" defTabSz="360000" rtl="0" eaLnBrk="1" latinLnBrk="0" hangingPunct="1"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538163" indent="-180975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900000" indent="-180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1188000" indent="-180000" algn="l" defTabSz="914400" rtl="0" eaLnBrk="1" latinLnBrk="0" hangingPunct="1">
        <a:lnSpc>
          <a:spcPts val="22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524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88436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2463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67543" y="576000"/>
            <a:ext cx="8172455" cy="84163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67999" y="1584001"/>
            <a:ext cx="8171999" cy="410630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Klik for at redigere i master</a:t>
            </a:r>
          </a:p>
          <a:p>
            <a:pPr lvl="1"/>
            <a:r>
              <a:rPr lang="en-US" dirty="0"/>
              <a:t>Andet niveau</a:t>
            </a:r>
          </a:p>
          <a:p>
            <a:pPr lvl="2"/>
            <a:r>
              <a:rPr lang="en-US" dirty="0"/>
              <a:t>Tredje niveau</a:t>
            </a:r>
          </a:p>
          <a:p>
            <a:pPr lvl="3"/>
            <a:r>
              <a:rPr lang="en-US" dirty="0"/>
              <a:t>Fjerde niveau</a:t>
            </a:r>
          </a:p>
          <a:p>
            <a:pPr lvl="4"/>
            <a:r>
              <a:rPr lang="en-US" dirty="0"/>
              <a:t>Femte niveau</a:t>
            </a:r>
          </a:p>
          <a:p>
            <a:pPr lvl="5"/>
            <a:r>
              <a:rPr lang="en-US" dirty="0"/>
              <a:t>Sjette niveau</a:t>
            </a:r>
          </a:p>
          <a:p>
            <a:pPr lvl="6"/>
            <a:r>
              <a:rPr lang="en-US" dirty="0"/>
              <a:t>(syvende)</a:t>
            </a:r>
          </a:p>
          <a:p>
            <a:pPr lvl="7"/>
            <a:r>
              <a:rPr lang="en-US" dirty="0"/>
              <a:t>(ottende)</a:t>
            </a:r>
          </a:p>
          <a:p>
            <a:pPr lvl="8"/>
            <a:r>
              <a:rPr lang="en-US" dirty="0"/>
              <a:t>(niende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28000" y="6215560"/>
            <a:ext cx="64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A1707CC2-C8BF-48C6-B09C-DB92AB0CBD2A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693066" y="6214350"/>
            <a:ext cx="442693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469191" y="6215923"/>
            <a:ext cx="35839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1000"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6" name="Picture 2" descr="C:\Users\kg\Desktop\KOMBIT\_Version 0.1\KOMBIT_payoff_cmyk.emf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9362" y="6065427"/>
            <a:ext cx="1510637" cy="47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5543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sldNum="0" hdr="0" ftr="0" dt="0"/>
  <p:txStyles>
    <p:titleStyle>
      <a:lvl1pPr algn="l" defTabSz="914400" rtl="0" eaLnBrk="1" latinLnBrk="0" hangingPunct="1">
        <a:lnSpc>
          <a:spcPts val="2700"/>
        </a:lnSpc>
        <a:spcBef>
          <a:spcPct val="0"/>
        </a:spcBef>
        <a:buNone/>
        <a:defRPr sz="3000" b="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1" kern="1200">
          <a:solidFill>
            <a:schemeClr val="accent1"/>
          </a:solidFill>
          <a:latin typeface="Trebuchet MS" panose="020B0603020202020204" pitchFamily="34" charset="0"/>
          <a:ea typeface="+mn-ea"/>
          <a:cs typeface="+mn-cs"/>
        </a:defRPr>
      </a:lvl2pPr>
      <a:lvl3pPr marL="180000" indent="-180000" algn="l" defTabSz="360000" rtl="0" eaLnBrk="1" latinLnBrk="0" hangingPunct="1"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538163" indent="-180975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900000" indent="-180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1188000" indent="-180000" algn="l" defTabSz="914400" rtl="0" eaLnBrk="1" latinLnBrk="0" hangingPunct="1">
        <a:lnSpc>
          <a:spcPts val="22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524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88436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2463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8868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67543" y="576000"/>
            <a:ext cx="8172455" cy="84163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67999" y="1584001"/>
            <a:ext cx="8171999" cy="410630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Klik for at redigere i master</a:t>
            </a:r>
          </a:p>
          <a:p>
            <a:pPr lvl="1"/>
            <a:r>
              <a:rPr lang="en-US" dirty="0"/>
              <a:t>Andet niveau</a:t>
            </a:r>
          </a:p>
          <a:p>
            <a:pPr lvl="2"/>
            <a:r>
              <a:rPr lang="en-US" dirty="0"/>
              <a:t>Tredje niveau</a:t>
            </a:r>
          </a:p>
          <a:p>
            <a:pPr lvl="3"/>
            <a:r>
              <a:rPr lang="en-US" dirty="0"/>
              <a:t>Fjerde niveau</a:t>
            </a:r>
          </a:p>
          <a:p>
            <a:pPr lvl="4"/>
            <a:r>
              <a:rPr lang="en-US" dirty="0"/>
              <a:t>Femte niveau</a:t>
            </a:r>
          </a:p>
          <a:p>
            <a:pPr lvl="5"/>
            <a:r>
              <a:rPr lang="en-US" dirty="0"/>
              <a:t>Sjette niveau</a:t>
            </a:r>
          </a:p>
          <a:p>
            <a:pPr lvl="6"/>
            <a:r>
              <a:rPr lang="en-US" dirty="0"/>
              <a:t>(syvende)</a:t>
            </a:r>
          </a:p>
          <a:p>
            <a:pPr lvl="7"/>
            <a:r>
              <a:rPr lang="en-US" dirty="0"/>
              <a:t>(ottende)</a:t>
            </a:r>
          </a:p>
          <a:p>
            <a:pPr lvl="8"/>
            <a:r>
              <a:rPr lang="en-US" dirty="0"/>
              <a:t>(niende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28000" y="6215560"/>
            <a:ext cx="64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A1707CC2-C8BF-48C6-B09C-DB92AB0CBD2A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693066" y="6214350"/>
            <a:ext cx="442693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469191" y="6215923"/>
            <a:ext cx="35839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1000"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6" name="Picture 2" descr="C:\Users\kg\Desktop\KOMBIT\_Version 0.1\KOMBIT_payoff_cmyk.emf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9362" y="6065427"/>
            <a:ext cx="1510637" cy="47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681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</p:sldLayoutIdLst>
  <p:hf sldNum="0" hdr="0" ftr="0" dt="0"/>
  <p:txStyles>
    <p:titleStyle>
      <a:lvl1pPr algn="l" defTabSz="914400" rtl="0" eaLnBrk="1" latinLnBrk="0" hangingPunct="1">
        <a:lnSpc>
          <a:spcPts val="2700"/>
        </a:lnSpc>
        <a:spcBef>
          <a:spcPct val="0"/>
        </a:spcBef>
        <a:buNone/>
        <a:defRPr sz="3000" b="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1" kern="1200">
          <a:solidFill>
            <a:schemeClr val="accent1"/>
          </a:solidFill>
          <a:latin typeface="Trebuchet MS" panose="020B0603020202020204" pitchFamily="34" charset="0"/>
          <a:ea typeface="+mn-ea"/>
          <a:cs typeface="+mn-cs"/>
        </a:defRPr>
      </a:lvl2pPr>
      <a:lvl3pPr marL="180000" indent="-180000" algn="l" defTabSz="360000" rtl="0" eaLnBrk="1" latinLnBrk="0" hangingPunct="1"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538163" indent="-180975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900000" indent="-180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1188000" indent="-180000" algn="l" defTabSz="914400" rtl="0" eaLnBrk="1" latinLnBrk="0" hangingPunct="1">
        <a:lnSpc>
          <a:spcPts val="22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524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88436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2463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67543" y="576000"/>
            <a:ext cx="8172455" cy="84163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67999" y="1584001"/>
            <a:ext cx="8171999" cy="410630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Klik for at redigere i master</a:t>
            </a:r>
          </a:p>
          <a:p>
            <a:pPr lvl="1"/>
            <a:r>
              <a:rPr lang="en-US" dirty="0"/>
              <a:t>Andet niveau</a:t>
            </a:r>
          </a:p>
          <a:p>
            <a:pPr lvl="2"/>
            <a:r>
              <a:rPr lang="en-US" dirty="0"/>
              <a:t>Tredje niveau</a:t>
            </a:r>
          </a:p>
          <a:p>
            <a:pPr lvl="3"/>
            <a:r>
              <a:rPr lang="en-US" dirty="0"/>
              <a:t>Fjerde niveau</a:t>
            </a:r>
          </a:p>
          <a:p>
            <a:pPr lvl="4"/>
            <a:r>
              <a:rPr lang="en-US" dirty="0"/>
              <a:t>Femte niveau</a:t>
            </a:r>
          </a:p>
          <a:p>
            <a:pPr lvl="5"/>
            <a:r>
              <a:rPr lang="en-US" dirty="0"/>
              <a:t>Sjette niveau</a:t>
            </a:r>
          </a:p>
          <a:p>
            <a:pPr lvl="6"/>
            <a:r>
              <a:rPr lang="en-US" dirty="0"/>
              <a:t>(syvende)</a:t>
            </a:r>
          </a:p>
          <a:p>
            <a:pPr lvl="7"/>
            <a:r>
              <a:rPr lang="en-US" dirty="0"/>
              <a:t>(ottende)</a:t>
            </a:r>
          </a:p>
          <a:p>
            <a:pPr lvl="8"/>
            <a:r>
              <a:rPr lang="en-US" dirty="0"/>
              <a:t>(niende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28000" y="6215560"/>
            <a:ext cx="64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A1707CC2-C8BF-48C6-B09C-DB92AB0CBD2A}" type="datetimeFigureOut">
              <a:rPr lang="en-US" dirty="0">
                <a:solidFill>
                  <a:prstClr val="black"/>
                </a:solidFill>
              </a:rPr>
              <a:pPr/>
              <a:t>3/11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693066" y="6214350"/>
            <a:ext cx="442693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469191" y="6215923"/>
            <a:ext cx="35839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1000"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5D63841E-FDE4-4F95-B5AA-F5EB88A7EDBE}" type="slidenum">
              <a:rPr lang="en-US" dirty="0">
                <a:solidFill>
                  <a:prstClr val="black"/>
                </a:solidFill>
              </a:rPr>
              <a:pPr/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6" name="Picture 2" descr="C:\Users\kg\Desktop\KOMBIT\_Version 0.1\KOMBIT_payoff_cmyk.emf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9362" y="6065427"/>
            <a:ext cx="1510637" cy="47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6837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hf sldNum="0" hdr="0" ftr="0" dt="0"/>
  <p:txStyles>
    <p:titleStyle>
      <a:lvl1pPr algn="l" defTabSz="914400" rtl="0" eaLnBrk="1" latinLnBrk="0" hangingPunct="1">
        <a:lnSpc>
          <a:spcPts val="2700"/>
        </a:lnSpc>
        <a:spcBef>
          <a:spcPct val="0"/>
        </a:spcBef>
        <a:buNone/>
        <a:defRPr sz="3000" b="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1" kern="1200">
          <a:solidFill>
            <a:schemeClr val="accent1"/>
          </a:solidFill>
          <a:latin typeface="Trebuchet MS" panose="020B0603020202020204" pitchFamily="34" charset="0"/>
          <a:ea typeface="+mn-ea"/>
          <a:cs typeface="+mn-cs"/>
        </a:defRPr>
      </a:lvl2pPr>
      <a:lvl3pPr marL="180000" indent="-180000" algn="l" defTabSz="360000" rtl="0" eaLnBrk="1" latinLnBrk="0" hangingPunct="1"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538163" indent="-180975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900000" indent="-180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1188000" indent="-180000" algn="l" defTabSz="914400" rtl="0" eaLnBrk="1" latinLnBrk="0" hangingPunct="1">
        <a:lnSpc>
          <a:spcPts val="22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524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88436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2463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qqsIsBXbjbk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1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Relationship Id="rId4" Type="http://schemas.openxmlformats.org/officeDocument/2006/relationships/hyperlink" Target="https://www.kombit.dk/sites/default/files/user_upload/documents/KLIK/KLIK%20brugervejledning.pdf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aula.implementering@netcompany.com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3.jpg"/><Relationship Id="rId4" Type="http://schemas.openxmlformats.org/officeDocument/2006/relationships/hyperlink" Target="mailto:aula@kombit.dk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KLIK - webinar </a:t>
            </a:r>
            <a:br>
              <a:rPr lang="da-DK" dirty="0"/>
            </a:br>
            <a:r>
              <a:rPr lang="da-DK" dirty="0"/>
              <a:t>Arbejdsgange og opgaver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547A106E-9F27-40EC-9BC9-AF5D9739F33D}"/>
              </a:ext>
            </a:extLst>
          </p:cNvPr>
          <p:cNvSpPr txBox="1"/>
          <p:nvPr/>
        </p:nvSpPr>
        <p:spPr>
          <a:xfrm>
            <a:off x="434210" y="4607169"/>
            <a:ext cx="6291905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a-DK" dirty="0">
                <a:latin typeface="Trebuchet MS" panose="020B0603020202020204" pitchFamily="34" charset="0"/>
              </a:rPr>
              <a:t>Du kan se en optagelse af webinaret på: </a:t>
            </a:r>
            <a:r>
              <a:rPr lang="da-DK" dirty="0">
                <a:latin typeface="Trebuchet MS" panose="020B0603020202020204" pitchFamily="34" charset="0"/>
                <a:hlinkClick r:id="rId3"/>
              </a:rPr>
              <a:t>https://youtu.be/qqsIsBXbjbk</a:t>
            </a:r>
            <a:endParaRPr lang="da-DK" dirty="0">
              <a:latin typeface="Trebuchet MS" panose="020B0603020202020204" pitchFamily="34" charset="0"/>
            </a:endParaRPr>
          </a:p>
          <a:p>
            <a:endParaRPr lang="da-DK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3786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</a:t>
            </a:r>
            <a:br>
              <a:rPr lang="da-DK" dirty="0"/>
            </a:br>
            <a:r>
              <a:rPr lang="da-DK" dirty="0"/>
              <a:t>Opgavebeskrivelsen</a:t>
            </a:r>
          </a:p>
        </p:txBody>
      </p:sp>
      <p:sp>
        <p:nvSpPr>
          <p:cNvPr id="3" name="Tekstfelt 2"/>
          <p:cNvSpPr txBox="1"/>
          <p:nvPr/>
        </p:nvSpPr>
        <p:spPr>
          <a:xfrm>
            <a:off x="5971822" y="376790"/>
            <a:ext cx="2878666" cy="550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a-DK" sz="1600" dirty="0">
                <a:solidFill>
                  <a:schemeClr val="tx1"/>
                </a:solidFill>
                <a:latin typeface="Trebuchet MS" panose="020B0603020202020204" pitchFamily="34" charset="0"/>
              </a:rPr>
              <a:t>På opgavebeskrivelsen kan du se en beskrivelse af opgaven.</a:t>
            </a:r>
          </a:p>
          <a:p>
            <a:endParaRPr lang="da-DK" sz="16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r>
              <a:rPr lang="da-DK" sz="1600" b="1" dirty="0">
                <a:solidFill>
                  <a:schemeClr val="tx1"/>
                </a:solidFill>
                <a:latin typeface="Trebuchet MS" panose="020B0603020202020204" pitchFamily="34" charset="0"/>
              </a:rPr>
              <a:t>Opgaveansvarlig</a:t>
            </a:r>
            <a:r>
              <a:rPr lang="da-DK" sz="1600" dirty="0">
                <a:solidFill>
                  <a:schemeClr val="tx1"/>
                </a:solidFill>
                <a:latin typeface="Trebuchet MS" panose="020B0603020202020204" pitchFamily="34" charset="0"/>
              </a:rPr>
              <a:t>: Der kan kun være en opgaveansvarlig, det vil være dig som projektleder, er I flere som har adgang til KLIK, vil der fortsat kun blive vist et navn. </a:t>
            </a:r>
          </a:p>
          <a:p>
            <a:endParaRPr lang="da-DK" sz="16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r>
              <a:rPr lang="da-DK" sz="1600" b="1" dirty="0">
                <a:solidFill>
                  <a:schemeClr val="tx1"/>
                </a:solidFill>
                <a:latin typeface="Trebuchet MS" panose="020B0603020202020204" pitchFamily="34" charset="0"/>
              </a:rPr>
              <a:t>Status: </a:t>
            </a:r>
            <a:r>
              <a:rPr lang="da-DK" sz="1600" dirty="0">
                <a:solidFill>
                  <a:schemeClr val="tx1"/>
                </a:solidFill>
                <a:latin typeface="Trebuchet MS" panose="020B0603020202020204" pitchFamily="34" charset="0"/>
              </a:rPr>
              <a:t>skift status når du går i gang med opgaven</a:t>
            </a:r>
          </a:p>
          <a:p>
            <a:endParaRPr lang="da-DK" sz="16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r>
              <a:rPr lang="da-DK" sz="1600" b="1" dirty="0">
                <a:solidFill>
                  <a:schemeClr val="tx1"/>
                </a:solidFill>
                <a:latin typeface="Trebuchet MS" panose="020B0603020202020204" pitchFamily="34" charset="0"/>
              </a:rPr>
              <a:t>Læs og løs opgaven</a:t>
            </a:r>
          </a:p>
          <a:p>
            <a:endParaRPr lang="da-DK" sz="16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r>
              <a:rPr lang="da-DK" sz="1600" b="1" dirty="0">
                <a:solidFill>
                  <a:schemeClr val="tx1"/>
                </a:solidFill>
                <a:latin typeface="Trebuchet MS" panose="020B0603020202020204" pitchFamily="34" charset="0"/>
              </a:rPr>
              <a:t>Anvend bilag og links</a:t>
            </a:r>
          </a:p>
          <a:p>
            <a:endParaRPr lang="da-DK" sz="1600" b="1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r>
              <a:rPr lang="da-DK" sz="1600" b="1" dirty="0">
                <a:solidFill>
                  <a:schemeClr val="tx1"/>
                </a:solidFill>
                <a:latin typeface="Trebuchet MS" panose="020B0603020202020204" pitchFamily="34" charset="0"/>
              </a:rPr>
              <a:t>Status: </a:t>
            </a:r>
            <a:r>
              <a:rPr lang="da-DK" sz="1600" dirty="0">
                <a:solidFill>
                  <a:schemeClr val="tx1"/>
                </a:solidFill>
                <a:latin typeface="Trebuchet MS" panose="020B0603020202020204" pitchFamily="34" charset="0"/>
              </a:rPr>
              <a:t>Skift status til fuldført når opgaven er færdig.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7CA45C2-541E-4623-9CDC-BE35D6DA04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91343" y="1616848"/>
            <a:ext cx="5395499" cy="3426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705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6487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ladsholder til billede 5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9" r="18949"/>
          <a:stretch>
            <a:fillRect/>
          </a:stretch>
        </p:blipFill>
        <p:spPr/>
      </p:pic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endParaRPr lang="da-DK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a-DK" dirty="0"/>
              <a:t>Aula projektledere oprettes af KOMBIT – du er ‘projektleder’ i KLIK</a:t>
            </a:r>
          </a:p>
          <a:p>
            <a:endParaRPr lang="da-DK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a-DK" dirty="0"/>
              <a:t>I kan (hvis der er behov) selv oprette andre bruger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da-DK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a-DK" dirty="0"/>
              <a:t>I skal holde jer orienteret og sikre, at de opgaver der stilles løses og markeres med opdateret status i KLIK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da-DK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a-DK" dirty="0"/>
              <a:t>I vil modtage en mail når der kommer nye opgaver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da-DK" dirty="0"/>
          </a:p>
          <a:p>
            <a:endParaRPr lang="da-DK" dirty="0"/>
          </a:p>
          <a:p>
            <a:pPr marL="342900" indent="-342900">
              <a:buFontTx/>
              <a:buChar char="-"/>
            </a:pP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107" y="362936"/>
            <a:ext cx="6535375" cy="841638"/>
          </a:xfrm>
        </p:spPr>
        <p:txBody>
          <a:bodyPr>
            <a:normAutofit/>
          </a:bodyPr>
          <a:lstStyle/>
          <a:p>
            <a:r>
              <a:rPr lang="da-DK" dirty="0"/>
              <a:t>Hvad er min rolle som projektleder i forhold til brugen af KLIK</a:t>
            </a:r>
          </a:p>
        </p:txBody>
      </p:sp>
    </p:spTree>
    <p:extLst>
      <p:ext uri="{BB962C8B-B14F-4D97-AF65-F5344CB8AC3E}">
        <p14:creationId xmlns:p14="http://schemas.microsoft.com/office/powerpoint/2010/main" val="38226371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 kan jeg læse mere om KLIK</a:t>
            </a:r>
          </a:p>
        </p:txBody>
      </p:sp>
      <p:pic>
        <p:nvPicPr>
          <p:cNvPr id="6" name="Pladsholder til billede 5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8" t="21936" r="24406" b="35699"/>
          <a:stretch/>
        </p:blipFill>
        <p:spPr>
          <a:xfrm>
            <a:off x="5692876" y="3631837"/>
            <a:ext cx="2979175" cy="29054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69107" y="1583532"/>
            <a:ext cx="7819487" cy="1661114"/>
          </a:xfrm>
        </p:spPr>
        <p:txBody>
          <a:bodyPr/>
          <a:lstStyle/>
          <a:p>
            <a:r>
              <a:rPr lang="da-DK" dirty="0"/>
              <a:t>KLIK vejledningen</a:t>
            </a:r>
          </a:p>
          <a:p>
            <a:pPr marL="522900" lvl="2" indent="-342900">
              <a:buFontTx/>
              <a:buChar char="-"/>
            </a:pPr>
            <a:r>
              <a:rPr lang="da-DK" dirty="0"/>
              <a:t>I KLIK: ‘Få hjælp’ eller</a:t>
            </a:r>
          </a:p>
          <a:p>
            <a:pPr marL="522900" lvl="2" indent="-342900">
              <a:buFontTx/>
              <a:buChar char="-"/>
            </a:pPr>
            <a:r>
              <a:rPr lang="da-DK" u="sng" dirty="0">
                <a:hlinkClick r:id="rId4"/>
              </a:rPr>
              <a:t>https://www.kombit.dk/sites/default/files/user_upload/documents/KLIK/KLIK%20brugervejledning.pdf</a:t>
            </a:r>
            <a:endParaRPr lang="da-DK" u="sng" dirty="0"/>
          </a:p>
          <a:p>
            <a:pPr lvl="2" indent="0">
              <a:buNone/>
            </a:pPr>
            <a:endParaRPr lang="da-DK" u="sng" dirty="0"/>
          </a:p>
          <a:p>
            <a:pPr lvl="2" indent="0">
              <a:buNone/>
            </a:pPr>
            <a:endParaRPr lang="da-DK" dirty="0">
              <a:solidFill>
                <a:srgbClr val="C8102E"/>
              </a:solidFill>
            </a:endParaRPr>
          </a:p>
        </p:txBody>
      </p:sp>
      <p:sp>
        <p:nvSpPr>
          <p:cNvPr id="3" name="Tekstfelt 2"/>
          <p:cNvSpPr txBox="1"/>
          <p:nvPr/>
        </p:nvSpPr>
        <p:spPr>
          <a:xfrm>
            <a:off x="-245601" y="3991946"/>
            <a:ext cx="5540272" cy="21852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2" indent="0">
              <a:buNone/>
            </a:pPr>
            <a:r>
              <a:rPr lang="da-DK" sz="2000" dirty="0">
                <a:solidFill>
                  <a:schemeClr val="tx1"/>
                </a:solidFill>
              </a:rPr>
              <a:t>Vejledningen indeholder </a:t>
            </a:r>
          </a:p>
          <a:p>
            <a:pPr marL="1338263" lvl="4" indent="-342900">
              <a:buFont typeface="Wingdings" panose="05000000000000000000" pitchFamily="2" charset="2"/>
              <a:buChar char="Ø"/>
            </a:pPr>
            <a:r>
              <a:rPr lang="da-DK" sz="2000" dirty="0">
                <a:solidFill>
                  <a:schemeClr val="tx1"/>
                </a:solidFill>
              </a:rPr>
              <a:t>Generel introduktion og vejledning</a:t>
            </a:r>
          </a:p>
          <a:p>
            <a:pPr marL="1338263" lvl="4" indent="-342900">
              <a:buFont typeface="Wingdings" panose="05000000000000000000" pitchFamily="2" charset="2"/>
              <a:buChar char="Ø"/>
            </a:pPr>
            <a:r>
              <a:rPr lang="da-DK" sz="2000" dirty="0">
                <a:solidFill>
                  <a:schemeClr val="tx1"/>
                </a:solidFill>
              </a:rPr>
              <a:t>Navigationssedler (trin for trin guides) på dine arbejdsprocesser i KLIK</a:t>
            </a:r>
          </a:p>
          <a:p>
            <a:pPr marL="522900" lvl="2" indent="-342900">
              <a:buFontTx/>
              <a:buChar char="-"/>
            </a:pPr>
            <a:endParaRPr lang="da-DK" dirty="0">
              <a:solidFill>
                <a:schemeClr val="tx1"/>
              </a:solidFill>
            </a:endParaRPr>
          </a:p>
          <a:p>
            <a:endParaRPr lang="da-DK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069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 kan jeg få hjælp?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364332" y="1535906"/>
            <a:ext cx="4318917" cy="4104031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da-DK" dirty="0"/>
              <a:t>Har du spørgsmål til implementeringen, opgaver, opgavebeskrivelserne, vejledninger mm - kan du rette henvendelse til </a:t>
            </a:r>
            <a:r>
              <a:rPr lang="da-DK" sz="1600" dirty="0">
                <a:hlinkClick r:id="rId3"/>
              </a:rPr>
              <a:t>aula.implementering@netcompany.com</a:t>
            </a:r>
            <a:endParaRPr lang="da-DK" sz="1600" dirty="0"/>
          </a:p>
          <a:p>
            <a:endParaRPr lang="da-DK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da-DK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a-DK" dirty="0"/>
              <a:t>Teknisk support kontakt </a:t>
            </a:r>
            <a:r>
              <a:rPr lang="da-DK" sz="1600" dirty="0">
                <a:solidFill>
                  <a:srgbClr val="FF0000"/>
                </a:solidFill>
                <a:hlinkClick r:id="rId4"/>
              </a:rPr>
              <a:t>aula@kombit.dk</a:t>
            </a:r>
            <a:r>
              <a:rPr lang="da-DK" sz="160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8" name="Pladsholder til billede 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52" r="2755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714413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billede 5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52" r="27552"/>
          <a:stretch>
            <a:fillRect/>
          </a:stretch>
        </p:blipFill>
        <p:spPr/>
      </p:pic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22658" y="447189"/>
            <a:ext cx="4463559" cy="4104031"/>
          </a:xfrm>
        </p:spPr>
        <p:txBody>
          <a:bodyPr/>
          <a:lstStyle/>
          <a:p>
            <a:r>
              <a:rPr lang="da-DK" sz="2400" b="1" dirty="0" err="1"/>
              <a:t>Next</a:t>
            </a:r>
            <a:r>
              <a:rPr lang="da-DK" sz="2400" b="1" dirty="0"/>
              <a:t> step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Førstkommende opgaver, der skal afvikles har deadline 21. marts:</a:t>
            </a:r>
          </a:p>
          <a:p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b="1" dirty="0"/>
              <a:t>Projektlederen tager opgavestyringsredskab i brug (KLIK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b="1" dirty="0"/>
              <a:t>Skole: Indmeld antal superbrugere</a:t>
            </a:r>
            <a:r>
              <a:rPr lang="da-DK" dirty="0"/>
              <a:t>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Opgaver opdateres i marts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Rektangel 2"/>
          <p:cNvSpPr/>
          <p:nvPr/>
        </p:nvSpPr>
        <p:spPr>
          <a:xfrm>
            <a:off x="1526247" y="5413777"/>
            <a:ext cx="16884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2000" b="1" dirty="0"/>
              <a:t>Tak for i dag</a:t>
            </a:r>
          </a:p>
        </p:txBody>
      </p:sp>
      <p:sp>
        <p:nvSpPr>
          <p:cNvPr id="2" name="Rektangel 1"/>
          <p:cNvSpPr/>
          <p:nvPr/>
        </p:nvSpPr>
        <p:spPr>
          <a:xfrm>
            <a:off x="314217" y="5952825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a-DK" sz="1600" dirty="0">
                <a:latin typeface="Trebuchet MS" panose="020B0603020202020204" pitchFamily="34" charset="0"/>
              </a:rPr>
              <a:t>NB PowerPoints bliver lagt op på </a:t>
            </a:r>
            <a:r>
              <a:rPr lang="da-DK" sz="1600" dirty="0" err="1">
                <a:latin typeface="Trebuchet MS" panose="020B0603020202020204" pitchFamily="34" charset="0"/>
              </a:rPr>
              <a:t>Yammer</a:t>
            </a:r>
            <a:r>
              <a:rPr lang="da-DK" sz="1600" dirty="0">
                <a:latin typeface="Trebuchet MS" panose="020B0603020202020204" pitchFamily="34" charset="0"/>
              </a:rPr>
              <a:t> og aula.dk</a:t>
            </a:r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2184577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ndhold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86966" y="1267442"/>
            <a:ext cx="8170068" cy="2151542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da-DK" dirty="0"/>
              <a:t>Formål med webinar</a:t>
            </a:r>
          </a:p>
          <a:p>
            <a:pPr marL="342900" indent="-342900">
              <a:buFontTx/>
              <a:buChar char="-"/>
            </a:pPr>
            <a:r>
              <a:rPr lang="da-DK" dirty="0"/>
              <a:t>Retningslinjer for webinar</a:t>
            </a:r>
          </a:p>
          <a:p>
            <a:pPr marL="342900" indent="-342900">
              <a:buFontTx/>
              <a:buChar char="-"/>
            </a:pPr>
            <a:r>
              <a:rPr lang="da-DK" dirty="0"/>
              <a:t>Introduktion til KLIK</a:t>
            </a:r>
          </a:p>
          <a:p>
            <a:pPr marL="342900" indent="-342900">
              <a:buFontTx/>
              <a:buChar char="-"/>
            </a:pPr>
            <a:r>
              <a:rPr lang="da-DK" dirty="0"/>
              <a:t>Hvor kan jeg læse mere om KLIK</a:t>
            </a:r>
          </a:p>
          <a:p>
            <a:pPr marL="342900" indent="-342900">
              <a:buFontTx/>
              <a:buChar char="-"/>
            </a:pPr>
            <a:r>
              <a:rPr lang="da-DK" dirty="0" err="1"/>
              <a:t>Next</a:t>
            </a:r>
            <a:r>
              <a:rPr lang="da-DK" dirty="0"/>
              <a:t> step</a:t>
            </a:r>
          </a:p>
          <a:p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6" name="Pladsholder til billede 5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26" b="1732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138902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ormål med webinare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8" name="Tekstfelt 7"/>
          <p:cNvSpPr txBox="1"/>
          <p:nvPr/>
        </p:nvSpPr>
        <p:spPr>
          <a:xfrm>
            <a:off x="467543" y="1580680"/>
            <a:ext cx="8294717" cy="41088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a-DK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  <a:latin typeface="Trebuchet MS" panose="020B0603020202020204" pitchFamily="34" charset="0"/>
              </a:rPr>
              <a:t>Sikre påklædning af Aula projektledere i anvendelsen Af KLIK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  <a:latin typeface="Trebuchet MS" panose="020B0603020202020204" pitchFamily="34" charset="0"/>
              </a:rPr>
              <a:t>At give en kort introduktion til hvorfor KLIK anvend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  <a:latin typeface="Trebuchet MS" panose="020B0603020202020204" pitchFamily="34" charset="0"/>
              </a:rPr>
              <a:t>At give en kort introduktion til hvordan KLIK anvendes</a:t>
            </a:r>
          </a:p>
          <a:p>
            <a:pPr>
              <a:lnSpc>
                <a:spcPct val="150000"/>
              </a:lnSpc>
            </a:pPr>
            <a:endParaRPr lang="da-DK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endParaRPr lang="da-DK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a-DK" dirty="0">
                <a:solidFill>
                  <a:schemeClr val="tx1"/>
                </a:solidFill>
                <a:latin typeface="Trebuchet MS" panose="020B0603020202020204" pitchFamily="34" charset="0"/>
              </a:rPr>
              <a:t>NB </a:t>
            </a:r>
            <a:r>
              <a:rPr lang="da-DK" dirty="0" err="1">
                <a:solidFill>
                  <a:schemeClr val="tx1"/>
                </a:solidFill>
                <a:latin typeface="Trebuchet MS" panose="020B0603020202020204" pitchFamily="34" charset="0"/>
              </a:rPr>
              <a:t>Powerpoint</a:t>
            </a:r>
            <a:r>
              <a:rPr lang="da-DK" dirty="0">
                <a:solidFill>
                  <a:schemeClr val="tx1"/>
                </a:solidFill>
                <a:latin typeface="Trebuchet MS" panose="020B0603020202020204" pitchFamily="34" charset="0"/>
              </a:rPr>
              <a:t> er tilgængelig på </a:t>
            </a:r>
            <a:r>
              <a:rPr lang="da-DK" dirty="0" err="1">
                <a:solidFill>
                  <a:schemeClr val="tx1"/>
                </a:solidFill>
                <a:latin typeface="Trebuchet MS" panose="020B0603020202020204" pitchFamily="34" charset="0"/>
              </a:rPr>
              <a:t>Yammer</a:t>
            </a:r>
            <a:r>
              <a:rPr lang="da-DK" dirty="0">
                <a:solidFill>
                  <a:schemeClr val="tx1"/>
                </a:solidFill>
                <a:latin typeface="Trebuchet MS" panose="020B0603020202020204" pitchFamily="34" charset="0"/>
              </a:rPr>
              <a:t> og aula.dk</a:t>
            </a:r>
          </a:p>
          <a:p>
            <a:pPr>
              <a:lnSpc>
                <a:spcPct val="150000"/>
              </a:lnSpc>
            </a:pPr>
            <a:endParaRPr lang="da-DK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>
              <a:lnSpc>
                <a:spcPct val="150000"/>
              </a:lnSpc>
            </a:pPr>
            <a:endParaRPr lang="da-DK" dirty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endParaRPr lang="da-DK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60C4289-5934-4D07-BEDC-18DD0BBFE93A}"/>
              </a:ext>
            </a:extLst>
          </p:cNvPr>
          <p:cNvSpPr txBox="1">
            <a:spLocks/>
          </p:cNvSpPr>
          <p:nvPr/>
        </p:nvSpPr>
        <p:spPr>
          <a:xfrm>
            <a:off x="947445" y="1170804"/>
            <a:ext cx="9597600" cy="4679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1" kern="1200">
                <a:solidFill>
                  <a:schemeClr val="accent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80000" indent="-180000" algn="l" defTabSz="3600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1188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4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8436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63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23482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/>
              <a:t>KLIK er KOMBIT og Kommunernes Løsning til Implementering, Koordinering og opfølgning</a:t>
            </a:r>
          </a:p>
          <a:p>
            <a:endParaRPr lang="da-DK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/>
              <a:t>Anvendes af alle KOMBIT projekter</a:t>
            </a:r>
          </a:p>
          <a:p>
            <a:endParaRPr lang="da-DK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>
                <a:solidFill>
                  <a:schemeClr val="dk1"/>
                </a:solidFill>
              </a:rPr>
              <a:t>KLIK er en portal hvor I, som kontaktpersoner, kan:</a:t>
            </a:r>
          </a:p>
          <a:p>
            <a:pPr marL="823913" lvl="3" indent="-285750"/>
            <a:r>
              <a:rPr lang="da-DK" dirty="0">
                <a:solidFill>
                  <a:schemeClr val="dk1"/>
                </a:solidFill>
              </a:rPr>
              <a:t>se de opgaver, der stilles</a:t>
            </a:r>
          </a:p>
          <a:p>
            <a:pPr marL="823913" lvl="3" indent="-285750"/>
            <a:r>
              <a:rPr lang="da-DK" dirty="0">
                <a:solidFill>
                  <a:schemeClr val="dk1"/>
                </a:solidFill>
              </a:rPr>
              <a:t>tilgå information om opgaverne </a:t>
            </a:r>
          </a:p>
          <a:p>
            <a:pPr marL="823913" lvl="3" indent="-285750"/>
            <a:r>
              <a:rPr lang="da-DK" dirty="0">
                <a:solidFill>
                  <a:schemeClr val="dk1"/>
                </a:solidFill>
              </a:rPr>
              <a:t>tilkendegive status på om opgaverne er påbegyndt, fuldført mv</a:t>
            </a:r>
          </a:p>
          <a:p>
            <a:pPr lvl="3" indent="0">
              <a:buNone/>
            </a:pPr>
            <a:endParaRPr lang="da-DK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>
                <a:solidFill>
                  <a:schemeClr val="dk1"/>
                </a:solidFill>
              </a:rPr>
              <a:t>KLIK er KOMBITS og </a:t>
            </a:r>
            <a:r>
              <a:rPr lang="da-DK" sz="2400" dirty="0" err="1">
                <a:solidFill>
                  <a:schemeClr val="dk1"/>
                </a:solidFill>
              </a:rPr>
              <a:t>Netcompanys</a:t>
            </a:r>
            <a:r>
              <a:rPr lang="da-DK" sz="2400" dirty="0">
                <a:solidFill>
                  <a:schemeClr val="dk1"/>
                </a:solidFill>
              </a:rPr>
              <a:t> mulighed for at følge implementeringen af Aula i alle kommuner</a:t>
            </a:r>
          </a:p>
          <a:p>
            <a:endParaRPr lang="da-DK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ort om KLIK</a:t>
            </a:r>
          </a:p>
        </p:txBody>
      </p:sp>
    </p:spTree>
    <p:extLst>
      <p:ext uri="{BB962C8B-B14F-4D97-AF65-F5344CB8AC3E}">
        <p14:creationId xmlns:p14="http://schemas.microsoft.com/office/powerpoint/2010/main" val="756412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og implementeringshåndbog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67999" y="1584001"/>
            <a:ext cx="8380726" cy="410630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/>
              <a:t>Implementeringshåndbog del 2 er, sammen med opgavestyringsværktøjet ”KLIK”, projektlederens primære værktøj til at styre de samlede implementeringsopgaver for Aula.</a:t>
            </a:r>
          </a:p>
          <a:p>
            <a:endParaRPr lang="da-DK" dirty="0"/>
          </a:p>
          <a:p>
            <a:pPr lvl="0"/>
            <a:r>
              <a:rPr lang="da-DK" dirty="0"/>
              <a:t>I ”KLIK” er listes de samme implementeringsopgaver, og det er her opgaverne effektueres.</a:t>
            </a:r>
          </a:p>
          <a:p>
            <a:pPr lvl="0"/>
            <a:endParaRPr lang="da-DK" dirty="0"/>
          </a:p>
          <a:p>
            <a:r>
              <a:rPr lang="da-DK" dirty="0"/>
              <a:t>Graden af beskrivelserne af de enkelte implementeringsopgaver er afhængig af, hvor meget funktionalitet der på nuværende tidspunkt er udviklet i Aula. </a:t>
            </a:r>
          </a:p>
          <a:p>
            <a:r>
              <a:rPr lang="da-DK" dirty="0"/>
              <a:t>Beskrivelserne af opgaver vil derfor løbende blive opdateret.</a:t>
            </a:r>
          </a:p>
          <a:p>
            <a:endParaRPr lang="da-DK" dirty="0"/>
          </a:p>
          <a:p>
            <a:endParaRPr lang="da-DK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467988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kniske forudsætninger for at anvende KLIK </a:t>
            </a:r>
            <a:br>
              <a:rPr lang="da-DK" dirty="0"/>
            </a:b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KLIK understøttes af de to seneste versioner af Chrome, Firefox, Internet Explorer eller Safari. </a:t>
            </a:r>
          </a:p>
          <a:p>
            <a:endParaRPr lang="da-DK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a-DK" dirty="0"/>
              <a:t>Hvis du bruger en ældre browser kan KLIK se ’forkert ud’ når du logger ind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da-DK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a-DK" dirty="0"/>
              <a:t>Det anbefales generelt at holde sin browser opdateret af sikkerhedsmæssige årsager. </a:t>
            </a:r>
          </a:p>
        </p:txBody>
      </p:sp>
    </p:spTree>
    <p:extLst>
      <p:ext uri="{BB962C8B-B14F-4D97-AF65-F5344CB8AC3E}">
        <p14:creationId xmlns:p14="http://schemas.microsoft.com/office/powerpoint/2010/main" val="37029188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ail og angiv adgangskode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Invitation fra KOMBIT med link til KLIK</a:t>
            </a:r>
          </a:p>
          <a:p>
            <a:endParaRPr lang="da-DK" dirty="0"/>
          </a:p>
          <a:p>
            <a:endParaRPr lang="da-DK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 rotWithShape="1">
          <a:blip r:embed="rId3"/>
          <a:srcRect l="1101" r="2654"/>
          <a:stretch/>
        </p:blipFill>
        <p:spPr>
          <a:xfrm>
            <a:off x="1029810" y="2157447"/>
            <a:ext cx="6143348" cy="293517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5" name="Rektangel 4"/>
          <p:cNvSpPr/>
          <p:nvPr/>
        </p:nvSpPr>
        <p:spPr>
          <a:xfrm>
            <a:off x="1083076" y="3067361"/>
            <a:ext cx="1737390" cy="3499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400" dirty="0">
                <a:latin typeface="Trebuchet MS" panose="020B0603020202020204" pitchFamily="34" charset="0"/>
              </a:rPr>
              <a:t>Hej Peter Poulsen</a:t>
            </a:r>
          </a:p>
        </p:txBody>
      </p:sp>
      <p:sp>
        <p:nvSpPr>
          <p:cNvPr id="7" name="Tekstfelt 6"/>
          <p:cNvSpPr txBox="1"/>
          <p:nvPr/>
        </p:nvSpPr>
        <p:spPr>
          <a:xfrm>
            <a:off x="812800" y="5458354"/>
            <a:ext cx="510257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a-DK" dirty="0">
                <a:latin typeface="Trebuchet MS" panose="020B0603020202020204" pitchFamily="34" charset="0"/>
              </a:rPr>
              <a:t>Herefter</a:t>
            </a:r>
          </a:p>
        </p:txBody>
      </p:sp>
      <p:sp>
        <p:nvSpPr>
          <p:cNvPr id="9" name="Rektangel 8"/>
          <p:cNvSpPr/>
          <p:nvPr/>
        </p:nvSpPr>
        <p:spPr>
          <a:xfrm>
            <a:off x="1145220" y="3905016"/>
            <a:ext cx="2041316" cy="3499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12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rPr>
              <a:t>Brugernavn: Peter Poulsen</a:t>
            </a:r>
          </a:p>
        </p:txBody>
      </p:sp>
    </p:spTree>
    <p:extLst>
      <p:ext uri="{BB962C8B-B14F-4D97-AF65-F5344CB8AC3E}">
        <p14:creationId xmlns:p14="http://schemas.microsoft.com/office/powerpoint/2010/main" val="6553074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999" y="487253"/>
            <a:ext cx="8172455" cy="841638"/>
          </a:xfrm>
        </p:spPr>
        <p:txBody>
          <a:bodyPr/>
          <a:lstStyle/>
          <a:p>
            <a:r>
              <a:rPr lang="da-DK" dirty="0"/>
              <a:t>KLIK</a:t>
            </a:r>
            <a:br>
              <a:rPr lang="da-DK" dirty="0"/>
            </a:br>
            <a:r>
              <a:rPr lang="da-DK" dirty="0"/>
              <a:t>Kommunernes opgaveliste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67999" y="1479381"/>
            <a:ext cx="8171999" cy="2908977"/>
          </a:xfrm>
        </p:spPr>
        <p:txBody>
          <a:bodyPr/>
          <a:lstStyle/>
          <a:p>
            <a:r>
              <a:rPr lang="da-DK" sz="1400" dirty="0"/>
              <a:t>Når du logger på KLIK er opgavelisten altid det første du ser.</a:t>
            </a:r>
          </a:p>
        </p:txBody>
      </p:sp>
      <p:sp>
        <p:nvSpPr>
          <p:cNvPr id="4" name="Tekstfelt 3"/>
          <p:cNvSpPr txBox="1"/>
          <p:nvPr/>
        </p:nvSpPr>
        <p:spPr>
          <a:xfrm>
            <a:off x="7661430" y="3477480"/>
            <a:ext cx="845404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a-DK" sz="800" dirty="0">
                <a:solidFill>
                  <a:schemeClr val="tx1"/>
                </a:solidFill>
                <a:latin typeface="Trebuchet MS" panose="020B0603020202020204" pitchFamily="34" charset="0"/>
              </a:rPr>
              <a:t>26-02-2018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ABD5292-6B92-406A-916F-2CC9DB1E0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866" y="1995783"/>
            <a:ext cx="8862268" cy="16429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21BECF-2E1F-46A0-A3EA-B4C94F89C0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31" y="3065684"/>
            <a:ext cx="9003134" cy="44037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3F727DE-108D-4477-9038-2B77A33B06EF}"/>
              </a:ext>
            </a:extLst>
          </p:cNvPr>
          <p:cNvSpPr txBox="1"/>
          <p:nvPr/>
        </p:nvSpPr>
        <p:spPr>
          <a:xfrm>
            <a:off x="52431" y="3452042"/>
            <a:ext cx="9003134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da-DK" dirty="0">
              <a:latin typeface="Trebuchet MS" panose="020B0603020202020204" pitchFamily="34" charset="0"/>
            </a:endParaRPr>
          </a:p>
        </p:txBody>
      </p:sp>
      <p:sp>
        <p:nvSpPr>
          <p:cNvPr id="6" name="Pladsholder til indhold 2"/>
          <p:cNvSpPr txBox="1">
            <a:spLocks/>
          </p:cNvSpPr>
          <p:nvPr/>
        </p:nvSpPr>
        <p:spPr>
          <a:xfrm>
            <a:off x="191132" y="3463416"/>
            <a:ext cx="8725732" cy="2133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1" kern="1200">
                <a:solidFill>
                  <a:schemeClr val="accent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80000" indent="-180000" algn="l" defTabSz="3600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1188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4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8436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63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400" dirty="0"/>
              <a:t>I listen kan I se titlen på opgaven, fase (arbejdsgrundlag, forberedelse og udrulning) og tema. Alle opgaver knyttet til arbejdsgrundlag har deadline grøn – der er tid til at opgaven kan løses før deadline</a:t>
            </a:r>
          </a:p>
          <a:p>
            <a:r>
              <a:rPr lang="da-DK" sz="1400" dirty="0"/>
              <a:t>Prioritet er her kritisk obligatorisk – de </a:t>
            </a:r>
            <a:r>
              <a:rPr lang="da-DK" sz="1400" i="1" dirty="0"/>
              <a:t>kritisk obligatoriske</a:t>
            </a:r>
            <a:r>
              <a:rPr lang="da-DK" sz="1400" dirty="0"/>
              <a:t> opgaver er afgørende for, at den enkelte kommune er klar til den tekniske implementering af Aula og uddannelsesforløbene. Er de </a:t>
            </a:r>
            <a:r>
              <a:rPr lang="da-DK" sz="1400" dirty="0" err="1"/>
              <a:t>kristisk</a:t>
            </a:r>
            <a:r>
              <a:rPr lang="da-DK" sz="1400" dirty="0"/>
              <a:t> obligatoriske opgaver ikke løst inden for slutdatoen, vil det have konsekvenser for idriftsættelsen af Aula.</a:t>
            </a:r>
          </a:p>
          <a:p>
            <a:endParaRPr lang="da-DK" sz="1400" dirty="0"/>
          </a:p>
        </p:txBody>
      </p:sp>
    </p:spTree>
    <p:extLst>
      <p:ext uri="{BB962C8B-B14F-4D97-AF65-F5344CB8AC3E}">
        <p14:creationId xmlns:p14="http://schemas.microsoft.com/office/powerpoint/2010/main" val="3170386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1898" y="496101"/>
            <a:ext cx="8172455" cy="657996"/>
          </a:xfrm>
        </p:spPr>
        <p:txBody>
          <a:bodyPr>
            <a:normAutofit fontScale="90000"/>
          </a:bodyPr>
          <a:lstStyle/>
          <a:p>
            <a:r>
              <a:rPr lang="da-DK" dirty="0"/>
              <a:t> </a:t>
            </a:r>
            <a:br>
              <a:rPr lang="da-DK" dirty="0"/>
            </a:br>
            <a:r>
              <a:rPr lang="da-DK" dirty="0"/>
              <a:t>Status i KLIK og opfølgning</a:t>
            </a:r>
          </a:p>
        </p:txBody>
      </p:sp>
      <p:pic>
        <p:nvPicPr>
          <p:cNvPr id="4" name="Pladsholder til indhold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86" y="1335256"/>
            <a:ext cx="8061167" cy="3949622"/>
          </a:xfrm>
        </p:spPr>
      </p:pic>
      <p:sp>
        <p:nvSpPr>
          <p:cNvPr id="5" name="Tekstfelt 4"/>
          <p:cNvSpPr txBox="1"/>
          <p:nvPr/>
        </p:nvSpPr>
        <p:spPr>
          <a:xfrm>
            <a:off x="411898" y="5284878"/>
            <a:ext cx="6001901" cy="1169551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da-DK" sz="1400" dirty="0">
                <a:solidFill>
                  <a:schemeClr val="tx1"/>
                </a:solidFill>
                <a:latin typeface="Trebuchet MS" panose="020B0603020202020204" pitchFamily="34" charset="0"/>
              </a:rPr>
              <a:t>TIP:</a:t>
            </a:r>
          </a:p>
          <a:p>
            <a:r>
              <a:rPr lang="da-DK" sz="1400" dirty="0">
                <a:solidFill>
                  <a:schemeClr val="tx1"/>
                </a:solidFill>
                <a:latin typeface="Trebuchet MS" panose="020B0603020202020204" pitchFamily="34" charset="0"/>
              </a:rPr>
              <a:t>Grøn = opgaven er på rette spor i forhold til at blive løst før slutdatoen  </a:t>
            </a:r>
          </a:p>
          <a:p>
            <a:r>
              <a:rPr lang="da-DK" sz="1400" dirty="0">
                <a:solidFill>
                  <a:schemeClr val="tx1"/>
                </a:solidFill>
                <a:latin typeface="Trebuchet MS" panose="020B0603020202020204" pitchFamily="34" charset="0"/>
              </a:rPr>
              <a:t>Gul = Handling er krævet</a:t>
            </a:r>
          </a:p>
          <a:p>
            <a:r>
              <a:rPr lang="da-DK" sz="1400" dirty="0">
                <a:solidFill>
                  <a:schemeClr val="tx1"/>
                </a:solidFill>
                <a:latin typeface="Trebuchet MS" panose="020B0603020202020204" pitchFamily="34" charset="0"/>
              </a:rPr>
              <a:t>Rød = Opgaven kan ikke løses inden deadline eller deadline er overskredet – du bør straks gå i gang med at løse opgaven</a:t>
            </a:r>
          </a:p>
        </p:txBody>
      </p:sp>
    </p:spTree>
    <p:extLst>
      <p:ext uri="{BB962C8B-B14F-4D97-AF65-F5344CB8AC3E}">
        <p14:creationId xmlns:p14="http://schemas.microsoft.com/office/powerpoint/2010/main" val="1357312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KOMBIT">
  <a:themeElements>
    <a:clrScheme name="KOMBIT">
      <a:dk1>
        <a:sysClr val="windowText" lastClr="000000"/>
      </a:dk1>
      <a:lt1>
        <a:sysClr val="window" lastClr="FFFFFF"/>
      </a:lt1>
      <a:dk2>
        <a:srgbClr val="4E3629"/>
      </a:dk2>
      <a:lt2>
        <a:srgbClr val="CBC4BC"/>
      </a:lt2>
      <a:accent1>
        <a:srgbClr val="C8102E"/>
      </a:accent1>
      <a:accent2>
        <a:srgbClr val="007398"/>
      </a:accent2>
      <a:accent3>
        <a:srgbClr val="7A9A01"/>
      </a:accent3>
      <a:accent4>
        <a:srgbClr val="482F92"/>
      </a:accent4>
      <a:accent5>
        <a:srgbClr val="4BACC6"/>
      </a:accent5>
      <a:accent6>
        <a:srgbClr val="E5A024"/>
      </a:accent6>
      <a:hlink>
        <a:srgbClr val="0000FF"/>
      </a:hlink>
      <a:folHlink>
        <a:srgbClr val="800080"/>
      </a:folHlink>
    </a:clrScheme>
    <a:fontScheme name="KOMBIT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MB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>
          <a:defRPr dirty="0"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KOMBIT Rød">
      <a:srgbClr val="C8102E"/>
    </a:custClr>
    <a:custClr name="Petroleum">
      <a:srgbClr val="007398"/>
    </a:custClr>
    <a:custClr name="Mørk Grøn">
      <a:srgbClr val="7A9A01"/>
    </a:custClr>
    <a:custClr name="Lilla">
      <a:srgbClr val="482F92"/>
    </a:custClr>
  </a:custClrLst>
  <a:extLst>
    <a:ext uri="{05A4C25C-085E-4340-85A3-A5531E510DB2}">
      <thm15:themeFamily xmlns:thm15="http://schemas.microsoft.com/office/thememl/2012/main" name="KOMBIT" id="{634E2D82-01D9-419D-8DEC-1637960FB904}" vid="{47408BA0-DC7D-470C-9CEA-4EE60019209B}"/>
    </a:ext>
  </a:extLst>
</a:theme>
</file>

<file path=ppt/theme/theme2.xml><?xml version="1.0" encoding="utf-8"?>
<a:theme xmlns:a="http://schemas.openxmlformats.org/drawingml/2006/main" name="4_KOMBIT">
  <a:themeElements>
    <a:clrScheme name="KOMBIT">
      <a:dk1>
        <a:sysClr val="windowText" lastClr="000000"/>
      </a:dk1>
      <a:lt1>
        <a:sysClr val="window" lastClr="FFFFFF"/>
      </a:lt1>
      <a:dk2>
        <a:srgbClr val="4E3629"/>
      </a:dk2>
      <a:lt2>
        <a:srgbClr val="CBC4BC"/>
      </a:lt2>
      <a:accent1>
        <a:srgbClr val="C8102E"/>
      </a:accent1>
      <a:accent2>
        <a:srgbClr val="007398"/>
      </a:accent2>
      <a:accent3>
        <a:srgbClr val="7A9A01"/>
      </a:accent3>
      <a:accent4>
        <a:srgbClr val="482F92"/>
      </a:accent4>
      <a:accent5>
        <a:srgbClr val="4BACC6"/>
      </a:accent5>
      <a:accent6>
        <a:srgbClr val="E5A024"/>
      </a:accent6>
      <a:hlink>
        <a:srgbClr val="0000FF"/>
      </a:hlink>
      <a:folHlink>
        <a:srgbClr val="800080"/>
      </a:folHlink>
    </a:clrScheme>
    <a:fontScheme name="KOMBIT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MB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>
          <a:defRPr dirty="0"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KOMBIT Rød">
      <a:srgbClr val="C8102E"/>
    </a:custClr>
    <a:custClr name="Petroleum">
      <a:srgbClr val="007398"/>
    </a:custClr>
    <a:custClr name="Mørk Grøn">
      <a:srgbClr val="7A9A01"/>
    </a:custClr>
    <a:custClr name="Lilla">
      <a:srgbClr val="482F92"/>
    </a:custClr>
  </a:custClrLst>
  <a:extLst>
    <a:ext uri="{05A4C25C-085E-4340-85A3-A5531E510DB2}">
      <thm15:themeFamily xmlns:thm15="http://schemas.microsoft.com/office/thememl/2012/main" name="KOMBIT" id="{634E2D82-01D9-419D-8DEC-1637960FB904}" vid="{47408BA0-DC7D-470C-9CEA-4EE60019209B}"/>
    </a:ext>
  </a:extLst>
</a:theme>
</file>

<file path=ppt/theme/theme3.xml><?xml version="1.0" encoding="utf-8"?>
<a:theme xmlns:a="http://schemas.openxmlformats.org/drawingml/2006/main" name="6_KOMBIT">
  <a:themeElements>
    <a:clrScheme name="KOMBIT">
      <a:dk1>
        <a:sysClr val="windowText" lastClr="000000"/>
      </a:dk1>
      <a:lt1>
        <a:sysClr val="window" lastClr="FFFFFF"/>
      </a:lt1>
      <a:dk2>
        <a:srgbClr val="4E3629"/>
      </a:dk2>
      <a:lt2>
        <a:srgbClr val="CBC4BC"/>
      </a:lt2>
      <a:accent1>
        <a:srgbClr val="C8102E"/>
      </a:accent1>
      <a:accent2>
        <a:srgbClr val="007398"/>
      </a:accent2>
      <a:accent3>
        <a:srgbClr val="7A9A01"/>
      </a:accent3>
      <a:accent4>
        <a:srgbClr val="482F92"/>
      </a:accent4>
      <a:accent5>
        <a:srgbClr val="4BACC6"/>
      </a:accent5>
      <a:accent6>
        <a:srgbClr val="E5A024"/>
      </a:accent6>
      <a:hlink>
        <a:srgbClr val="0000FF"/>
      </a:hlink>
      <a:folHlink>
        <a:srgbClr val="800080"/>
      </a:folHlink>
    </a:clrScheme>
    <a:fontScheme name="KOMBIT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MB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>
          <a:defRPr dirty="0"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KOMBIT Rød">
      <a:srgbClr val="C8102E"/>
    </a:custClr>
    <a:custClr name="Petroleum">
      <a:srgbClr val="007398"/>
    </a:custClr>
    <a:custClr name="Mørk Grøn">
      <a:srgbClr val="7A9A01"/>
    </a:custClr>
    <a:custClr name="Lilla">
      <a:srgbClr val="482F92"/>
    </a:custClr>
  </a:custClrLst>
  <a:extLst>
    <a:ext uri="{05A4C25C-085E-4340-85A3-A5531E510DB2}">
      <thm15:themeFamily xmlns:thm15="http://schemas.microsoft.com/office/thememl/2012/main" name="KOMBIT" id="{634E2D82-01D9-419D-8DEC-1637960FB904}" vid="{47408BA0-DC7D-470C-9CEA-4EE60019209B}"/>
    </a:ext>
  </a:extLst>
</a:theme>
</file>

<file path=ppt/theme/theme4.xml><?xml version="1.0" encoding="utf-8"?>
<a:theme xmlns:a="http://schemas.openxmlformats.org/drawingml/2006/main" name="KOMBIT">
  <a:themeElements>
    <a:clrScheme name="KOMBIT">
      <a:dk1>
        <a:sysClr val="windowText" lastClr="000000"/>
      </a:dk1>
      <a:lt1>
        <a:sysClr val="window" lastClr="FFFFFF"/>
      </a:lt1>
      <a:dk2>
        <a:srgbClr val="4E3629"/>
      </a:dk2>
      <a:lt2>
        <a:srgbClr val="CBC4BC"/>
      </a:lt2>
      <a:accent1>
        <a:srgbClr val="C8102E"/>
      </a:accent1>
      <a:accent2>
        <a:srgbClr val="007398"/>
      </a:accent2>
      <a:accent3>
        <a:srgbClr val="7A9A01"/>
      </a:accent3>
      <a:accent4>
        <a:srgbClr val="482F92"/>
      </a:accent4>
      <a:accent5>
        <a:srgbClr val="4BACC6"/>
      </a:accent5>
      <a:accent6>
        <a:srgbClr val="E5A024"/>
      </a:accent6>
      <a:hlink>
        <a:srgbClr val="0000FF"/>
      </a:hlink>
      <a:folHlink>
        <a:srgbClr val="800080"/>
      </a:folHlink>
    </a:clrScheme>
    <a:fontScheme name="KOMBIT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MB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>
          <a:defRPr dirty="0"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KOMBIT Rød">
      <a:srgbClr val="C8102E"/>
    </a:custClr>
    <a:custClr name="Petroleum">
      <a:srgbClr val="007398"/>
    </a:custClr>
    <a:custClr name="Mørk Grøn">
      <a:srgbClr val="7A9A01"/>
    </a:custClr>
    <a:custClr name="Lilla">
      <a:srgbClr val="482F92"/>
    </a:custClr>
  </a:custClrLst>
  <a:extLst>
    <a:ext uri="{05A4C25C-085E-4340-85A3-A5531E510DB2}">
      <thm15:themeFamily xmlns:thm15="http://schemas.microsoft.com/office/thememl/2012/main" name="KOMBIT" id="{634E2D82-01D9-419D-8DEC-1637960FB904}" vid="{47408BA0-DC7D-470C-9CEA-4EE60019209B}"/>
    </a:ext>
  </a:extLst>
</a:theme>
</file>

<file path=ppt/theme/theme5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GetOrganized Document Library Content Type" ma:contentTypeID="0x010100AC085CFC53BC46CEA2EADE194AD9D48200E951C08ABD73B549873E0054692E896E" ma:contentTypeVersion="1" ma:contentTypeDescription="GetOrganized Document Library Content Type Description" ma:contentTypeScope="" ma:versionID="15028bec4c6c118fde5f0d681b9680b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c242bc2fc61ff2e971bd3c88b3cf08f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CaseID" minOccurs="0"/>
                <xsd:element ref="ns1:DocID" minOccurs="0"/>
                <xsd:element ref="ns1:Finalized" minOccurs="0"/>
                <xsd:element ref="ns1:Related" minOccurs="0"/>
                <xsd:element ref="ns1:LocalAttachment" minOccurs="0"/>
                <xsd:element ref="ns1:RegistrationDate" minOccurs="0"/>
                <xsd:element ref="ns1:CaseRecordNumber" minOccurs="0"/>
                <xsd:element ref="ns1:CCMTemplateName" minOccurs="0"/>
                <xsd:element ref="ns1:CCMTemplateVersion" minOccurs="0"/>
                <xsd:element ref="ns1:CCMTemplateID" minOccurs="0"/>
                <xsd:element ref="ns1:CCMSystemID" minOccurs="0"/>
                <xsd:element ref="ns1:WasEncrypted" minOccurs="0"/>
                <xsd:element ref="ns1:WasSigned" minOccurs="0"/>
                <xsd:element ref="ns1:MailHasAttachments" minOccurs="0"/>
                <xsd:element ref="ns1:CCMConversation" minOccurs="0"/>
                <xsd:element ref="ns1:CCMVisual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aseID" ma:index="8" nillable="true" ma:displayName="Case ID" ma:default="Assigning" ma:internalName="CaseID" ma:readOnly="true">
      <xsd:simpleType>
        <xsd:restriction base="dms:Text"/>
      </xsd:simpleType>
    </xsd:element>
    <xsd:element name="DocID" ma:index="9" nillable="true" ma:displayName="Document ID" ma:default="Assigning" ma:internalName="DocID" ma:readOnly="true">
      <xsd:simpleType>
        <xsd:restriction base="dms:Text"/>
      </xsd:simpleType>
    </xsd:element>
    <xsd:element name="Finalized" ma:index="10" nillable="true" ma:displayName="Finalized" ma:default="False" ma:internalName="Finalized" ma:readOnly="true">
      <xsd:simpleType>
        <xsd:restriction base="dms:Boolean"/>
      </xsd:simpleType>
    </xsd:element>
    <xsd:element name="Related" ma:index="11" nillable="true" ma:displayName="Related" ma:default="False" ma:internalName="Related" ma:readOnly="true">
      <xsd:simpleType>
        <xsd:restriction base="dms:Boolean"/>
      </xsd:simpleType>
    </xsd:element>
    <xsd:element name="LocalAttachment" ma:index="12" nillable="true" ma:displayName="Local Attachment" ma:default="False" ma:internalName="LocalAttachment" ma:readOnly="true">
      <xsd:simpleType>
        <xsd:restriction base="dms:Boolean"/>
      </xsd:simpleType>
    </xsd:element>
    <xsd:element name="RegistrationDate" ma:index="13" nillable="true" ma:displayName="Registration date" ma:format="DateTime" ma:internalName="RegistrationDate" ma:readOnly="true">
      <xsd:simpleType>
        <xsd:restriction base="dms:DateTime"/>
      </xsd:simpleType>
    </xsd:element>
    <xsd:element name="CaseRecordNumber" ma:index="14" nillable="true" ma:displayName="Record ID" ma:decimals="0" ma:default="0" ma:internalName="CaseRecordNumber" ma:readOnly="true">
      <xsd:simpleType>
        <xsd:restriction base="dms:Number"/>
      </xsd:simpleType>
    </xsd:element>
    <xsd:element name="CCMTemplateName" ma:index="15" nillable="true" ma:displayName="Template name" ma:internalName="CCMTemplateName" ma:readOnly="true">
      <xsd:simpleType>
        <xsd:restriction base="dms:Text"/>
      </xsd:simpleType>
    </xsd:element>
    <xsd:element name="CCMTemplateVersion" ma:index="16" nillable="true" ma:displayName="Template version" ma:internalName="CCMTemplateVersion" ma:readOnly="true">
      <xsd:simpleType>
        <xsd:restriction base="dms:Text"/>
      </xsd:simpleType>
    </xsd:element>
    <xsd:element name="CCMTemplateID" ma:index="17" nillable="true" ma:displayName="CCMTemplateID" ma:decimals="0" ma:default="0" ma:hidden="true" ma:internalName="CCMTemplateID" ma:readOnly="true">
      <xsd:simpleType>
        <xsd:restriction base="dms:Number"/>
      </xsd:simpleType>
    </xsd:element>
    <xsd:element name="CCMSystemID" ma:index="18" nillable="true" ma:displayName="CCMSystemID" ma:hidden="true" ma:internalName="CCMSystemID" ma:readOnly="true">
      <xsd:simpleType>
        <xsd:restriction base="dms:Text"/>
      </xsd:simpleType>
    </xsd:element>
    <xsd:element name="WasEncrypted" ma:index="19" nillable="true" ma:displayName="Encrypted" ma:default="False" ma:internalName="WasEncrypted" ma:readOnly="true">
      <xsd:simpleType>
        <xsd:restriction base="dms:Boolean"/>
      </xsd:simpleType>
    </xsd:element>
    <xsd:element name="WasSigned" ma:index="20" nillable="true" ma:displayName="Signed" ma:default="False" ma:internalName="WasSigned" ma:readOnly="true">
      <xsd:simpleType>
        <xsd:restriction base="dms:Boolean"/>
      </xsd:simpleType>
    </xsd:element>
    <xsd:element name="MailHasAttachments" ma:index="21" nillable="true" ma:displayName="E-mail has attachments" ma:default="False" ma:internalName="MailHasAttachments" ma:readOnly="true">
      <xsd:simpleType>
        <xsd:restriction base="dms:Boolean"/>
      </xsd:simpleType>
    </xsd:element>
    <xsd:element name="CCMConversation" ma:index="22" nillable="true" ma:displayName="Conversation" ma:internalName="CCMConversation" ma:readOnly="true">
      <xsd:simpleType>
        <xsd:restriction base="dms:Text"/>
      </xsd:simpleType>
    </xsd:element>
    <xsd:element name="CCMVisualId" ma:index="23" nillable="true" ma:displayName="Case ID" ma:default="Assigning" ma:internalName="CCMVisualId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ID xmlns="http://schemas.microsoft.com/sharepoint/v3">5363085</DocID>
    <LocalAttachment xmlns="http://schemas.microsoft.com/sharepoint/v3">false</LocalAttachment>
    <CaseRecordNumber xmlns="http://schemas.microsoft.com/sharepoint/v3">0</CaseRecordNumber>
    <CaseID xmlns="http://schemas.microsoft.com/sharepoint/v3">KMTAULA</CaseID>
    <RegistrationDate xmlns="http://schemas.microsoft.com/sharepoint/v3" xsi:nil="true"/>
    <Related xmlns="http://schemas.microsoft.com/sharepoint/v3">false</Related>
    <CCMSystemID xmlns="http://schemas.microsoft.com/sharepoint/v3">a83c9e44-5554-4fe4-9554-0ea6ec621664</CCMSystemID>
    <CCMVisualId xmlns="http://schemas.microsoft.com/sharepoint/v3">KMTAULA</CCMVisualId>
    <Finalized xmlns="http://schemas.microsoft.com/sharepoint/v3">false</Finalized>
    <CCMTemplateID xmlns="http://schemas.microsoft.com/sharepoint/v3">0</CCMTemplateID>
  </documentManagement>
</p:properties>
</file>

<file path=customXml/itemProps1.xml><?xml version="1.0" encoding="utf-8"?>
<ds:datastoreItem xmlns:ds="http://schemas.openxmlformats.org/officeDocument/2006/customXml" ds:itemID="{955454B9-BCB8-4AD6-9B4C-A49E97551EA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19A3D0-78D1-43CD-A868-068932460E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F759C83-D4B6-4446-BB00-7F4ED35AC31F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sharepoint/v3"/>
    <ds:schemaRef ds:uri="http://schemas.microsoft.com/office/2006/metadata/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000</TotalTime>
  <Words>849</Words>
  <Application>Microsoft Office PowerPoint</Application>
  <PresentationFormat>Skærmshow (4:3)</PresentationFormat>
  <Paragraphs>137</Paragraphs>
  <Slides>14</Slides>
  <Notes>1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4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4</vt:i4>
      </vt:variant>
    </vt:vector>
  </HeadingPairs>
  <TitlesOfParts>
    <vt:vector size="23" baseType="lpstr">
      <vt:lpstr>Arial</vt:lpstr>
      <vt:lpstr>Calibri</vt:lpstr>
      <vt:lpstr>Trebuchet MS</vt:lpstr>
      <vt:lpstr>Wingdings</vt:lpstr>
      <vt:lpstr>2_KOMBIT</vt:lpstr>
      <vt:lpstr>4_KOMBIT</vt:lpstr>
      <vt:lpstr>6_KOMBIT</vt:lpstr>
      <vt:lpstr>KOMBIT</vt:lpstr>
      <vt:lpstr>think-cell Slide</vt:lpstr>
      <vt:lpstr>KLIK - webinar  Arbejdsgange og opgaver</vt:lpstr>
      <vt:lpstr>Indhold</vt:lpstr>
      <vt:lpstr>Formål med webinaret</vt:lpstr>
      <vt:lpstr>Kort om KLIK</vt:lpstr>
      <vt:lpstr>KLIK og implementeringshåndbogen</vt:lpstr>
      <vt:lpstr>Tekniske forudsætninger for at anvende KLIK  </vt:lpstr>
      <vt:lpstr>Mail og angiv adgangskode</vt:lpstr>
      <vt:lpstr>KLIK Kommunernes opgaveliste</vt:lpstr>
      <vt:lpstr>  Status i KLIK og opfølgning</vt:lpstr>
      <vt:lpstr>KLIK Opgavebeskrivelsen</vt:lpstr>
      <vt:lpstr>Hvad er min rolle som projektleder i forhold til brugen af KLIK</vt:lpstr>
      <vt:lpstr>Hvor kan jeg læse mere om KLIK</vt:lpstr>
      <vt:lpstr>Hvor kan jeg få hjælp?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LIK</dc:title>
  <dc:creator>Stine Lou Fehrend</dc:creator>
  <cp:lastModifiedBy>Susanne Rasmussen</cp:lastModifiedBy>
  <cp:revision>129</cp:revision>
  <cp:lastPrinted>2018-02-05T07:20:16Z</cp:lastPrinted>
  <dcterms:created xsi:type="dcterms:W3CDTF">2018-01-09T20:08:49Z</dcterms:created>
  <dcterms:modified xsi:type="dcterms:W3CDTF">2018-03-11T21:5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085CFC53BC46CEA2EADE194AD9D48200E951C08ABD73B549873E0054692E896E</vt:lpwstr>
  </property>
  <property fmtid="{D5CDD505-2E9C-101B-9397-08002B2CF9AE}" pid="3" name="Projektnavn">
    <vt:lpwstr>FLIS</vt:lpwstr>
  </property>
  <property fmtid="{D5CDD505-2E9C-101B-9397-08002B2CF9AE}" pid="4" name="Specificering af produkt">
    <vt:lpwstr/>
  </property>
  <property fmtid="{D5CDD505-2E9C-101B-9397-08002B2CF9AE}" pid="5" name="Specificering af målgruppe">
    <vt:lpwstr/>
  </property>
  <property fmtid="{D5CDD505-2E9C-101B-9397-08002B2CF9AE}" pid="6" name="Fase">
    <vt:lpwstr>Idemodning</vt:lpwstr>
  </property>
  <property fmtid="{D5CDD505-2E9C-101B-9397-08002B2CF9AE}" pid="7" name="Planlagt Faseovergang">
    <vt:filetime>2015-03-03T23:00:00Z</vt:filetime>
  </property>
  <property fmtid="{D5CDD505-2E9C-101B-9397-08002B2CF9AE}" pid="8" name="CCMIsSharedOnOneDrive">
    <vt:bool>false</vt:bool>
  </property>
  <property fmtid="{D5CDD505-2E9C-101B-9397-08002B2CF9AE}" pid="9" name="CCMOneDriveItemID">
    <vt:lpwstr/>
  </property>
  <property fmtid="{D5CDD505-2E9C-101B-9397-08002B2CF9AE}" pid="10" name="CCMOneDriveID">
    <vt:lpwstr/>
  </property>
  <property fmtid="{D5CDD505-2E9C-101B-9397-08002B2CF9AE}" pid="11" name="CCMOneDriveOwnerID">
    <vt:lpwstr/>
  </property>
  <property fmtid="{D5CDD505-2E9C-101B-9397-08002B2CF9AE}" pid="12" name="CCMSystem">
    <vt:lpwstr> </vt:lpwstr>
  </property>
</Properties>
</file>